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media/image24.jpg" ContentType="image/jpg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698" r:id="rId2"/>
    <p:sldMasterId id="2147483735" r:id="rId3"/>
    <p:sldMasterId id="2147483777" r:id="rId4"/>
    <p:sldMasterId id="2147483874" r:id="rId5"/>
    <p:sldMasterId id="2147483899" r:id="rId6"/>
    <p:sldMasterId id="2147483903" r:id="rId7"/>
  </p:sldMasterIdLst>
  <p:notesMasterIdLst>
    <p:notesMasterId r:id="rId29"/>
  </p:notesMasterIdLst>
  <p:sldIdLst>
    <p:sldId id="318" r:id="rId8"/>
    <p:sldId id="2145707185" r:id="rId9"/>
    <p:sldId id="2145707186" r:id="rId10"/>
    <p:sldId id="2145707191" r:id="rId11"/>
    <p:sldId id="298" r:id="rId12"/>
    <p:sldId id="2145707196" r:id="rId13"/>
    <p:sldId id="2145707197" r:id="rId14"/>
    <p:sldId id="2145707199" r:id="rId15"/>
    <p:sldId id="297" r:id="rId16"/>
    <p:sldId id="2145707200" r:id="rId17"/>
    <p:sldId id="2145707201" r:id="rId18"/>
    <p:sldId id="2145707202" r:id="rId19"/>
    <p:sldId id="2145707203" r:id="rId20"/>
    <p:sldId id="2145707204" r:id="rId21"/>
    <p:sldId id="2145707205" r:id="rId22"/>
    <p:sldId id="2145707206" r:id="rId23"/>
    <p:sldId id="2145707207" r:id="rId24"/>
    <p:sldId id="2145707208" r:id="rId25"/>
    <p:sldId id="2145707209" r:id="rId26"/>
    <p:sldId id="2145707210" r:id="rId27"/>
    <p:sldId id="2145707211" r:id="rId28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laudio Grandi" initials="CG" lastIdx="1" clrIdx="0">
    <p:extLst>
      <p:ext uri="{19B8F6BF-5375-455C-9EA6-DF929625EA0E}">
        <p15:presenceInfo xmlns:p15="http://schemas.microsoft.com/office/powerpoint/2012/main" userId="S::grandi@infn.it::829bb2c5-7aed-430b-9500-78cef4b4817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E8761"/>
    <a:srgbClr val="AD7B59"/>
    <a:srgbClr val="CC3300"/>
    <a:srgbClr val="008000"/>
    <a:srgbClr val="F2F90B"/>
    <a:srgbClr val="01FF09"/>
    <a:srgbClr val="F412CC"/>
    <a:srgbClr val="FF01D3"/>
    <a:srgbClr val="91D097"/>
    <a:srgbClr val="FF9E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Stile medio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23"/>
    <p:restoredTop sz="90226"/>
  </p:normalViewPr>
  <p:slideViewPr>
    <p:cSldViewPr snapToGrid="0" snapToObjects="1">
      <p:cViewPr varScale="1">
        <p:scale>
          <a:sx n="103" d="100"/>
          <a:sy n="103" d="100"/>
        </p:scale>
        <p:origin x="1192" y="1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4" d="100"/>
          <a:sy n="94" d="100"/>
        </p:scale>
        <p:origin x="375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commentAuthors" Target="commentAuthors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0C4DB5-1258-2948-8491-65B758B8DF53}" type="datetimeFigureOut">
              <a:rPr lang="it-IT" smtClean="0"/>
              <a:t>11/06/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0501CD-D93C-A547-9607-FCF8E1714219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711715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0501CD-D93C-A547-9607-FCF8E1714219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2336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0501CD-D93C-A547-9607-FCF8E1714219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58218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g139b9d4aa5c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8" name="Google Shape;58;g139b9d4aa5c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77465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524000" y="1939652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524000" y="4424854"/>
            <a:ext cx="9144000" cy="155815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21370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083273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63344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>
            <a:extLst>
              <a:ext uri="{FF2B5EF4-FFF2-40B4-BE49-F238E27FC236}">
                <a16:creationId xmlns:a16="http://schemas.microsoft.com/office/drawing/2014/main" id="{653F05FB-D326-4BD0-B9A2-574C008F396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rgbClr val="ED613B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Fare clic per modificare lo stile del sottotitolo dello schema</a:t>
            </a:r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0DF31AE6-92B9-621E-E4FC-48E33FEBE6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4930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B4ECD4D-71DF-4682-89F5-877ED0E21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D613B"/>
                </a:solidFill>
                <a:latin typeface="Georgia" panose="02040502050405020303" pitchFamily="18" charset="0"/>
              </a:defRPr>
            </a:lvl1pPr>
          </a:lstStyle>
          <a:p>
            <a:r>
              <a:rPr lang="it-IT" dirty="0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72336B3B-745B-4044-A6AA-7A865CE0A3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17614"/>
          </a:xfrm>
        </p:spPr>
        <p:txBody>
          <a:bodyPr/>
          <a:lstStyle>
            <a:lvl1pPr>
              <a:buClr>
                <a:srgbClr val="ED613B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buClr>
                <a:srgbClr val="ED613B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>
              <a:buClr>
                <a:srgbClr val="ED613B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>
              <a:buClr>
                <a:srgbClr val="ED613B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>
              <a:buClr>
                <a:srgbClr val="ED613B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2066911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AFB27B0-F51F-4058-B2B0-C4D74FD7E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5400" b="1">
                <a:solidFill>
                  <a:schemeClr val="tx1">
                    <a:lumMod val="85000"/>
                    <a:lumOff val="15000"/>
                  </a:schemeClr>
                </a:solidFill>
                <a:latin typeface="Georgia" panose="02040502050405020303" pitchFamily="18" charset="0"/>
              </a:defRPr>
            </a:lvl1pPr>
          </a:lstStyle>
          <a:p>
            <a:r>
              <a:rPr lang="it-IT" dirty="0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147C434-A7F4-49B7-BC21-B94073F1E1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ED613B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/>
              <a:t>Modifica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916808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EF7C908-1436-4698-8345-B7FD50062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D613B"/>
                </a:solidFill>
                <a:latin typeface="Georgia" panose="02040502050405020303" pitchFamily="18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54966C7-222D-46A9-99BB-AF9DB815A0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062219"/>
          </a:xfrm>
        </p:spPr>
        <p:txBody>
          <a:bodyPr/>
          <a:lstStyle>
            <a:lvl1pPr>
              <a:buClr>
                <a:srgbClr val="ED613B"/>
              </a:buCl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buClr>
                <a:srgbClr val="ED613B"/>
              </a:buCl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>
              <a:buClr>
                <a:srgbClr val="ED613B"/>
              </a:buCl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>
              <a:buClr>
                <a:srgbClr val="ED613B"/>
              </a:buCl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>
              <a:buClr>
                <a:srgbClr val="ED613B"/>
              </a:buClr>
              <a:defRPr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04C4144-7BD4-4B6F-AC61-E20D5ACB30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062219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it-IT" smtClean="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defRPr lang="it-IT" smtClean="0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>
              <a:defRPr lang="it-IT" smtClean="0"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>
              <a:defRPr lang="it-IT" smtClean="0"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>
              <a:defRPr lang="it-IT"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>
              <a:buClr>
                <a:srgbClr val="ED613B"/>
              </a:buClr>
            </a:pPr>
            <a:r>
              <a:rPr lang="it-IT"/>
              <a:t>Modifica gli stili del testo dello schema</a:t>
            </a:r>
          </a:p>
          <a:p>
            <a:pPr lvl="1">
              <a:buClr>
                <a:srgbClr val="ED613B"/>
              </a:buClr>
            </a:pPr>
            <a:r>
              <a:rPr lang="it-IT"/>
              <a:t>Secondo livello</a:t>
            </a:r>
          </a:p>
          <a:p>
            <a:pPr lvl="2">
              <a:buClr>
                <a:srgbClr val="ED613B"/>
              </a:buClr>
            </a:pPr>
            <a:r>
              <a:rPr lang="it-IT"/>
              <a:t>Terzo livello</a:t>
            </a:r>
          </a:p>
          <a:p>
            <a:pPr lvl="3">
              <a:buClr>
                <a:srgbClr val="ED613B"/>
              </a:buClr>
            </a:pPr>
            <a:r>
              <a:rPr lang="it-IT"/>
              <a:t>Quarto livello</a:t>
            </a:r>
          </a:p>
          <a:p>
            <a:pPr lvl="4">
              <a:buClr>
                <a:srgbClr val="ED613B"/>
              </a:buClr>
            </a:pPr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121163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8A614EE-956E-4489-A01C-2D27AD132E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 b="0">
                <a:solidFill>
                  <a:srgbClr val="ED613B"/>
                </a:solidFill>
              </a:defRPr>
            </a:lvl1pPr>
          </a:lstStyle>
          <a:p>
            <a:r>
              <a:rPr lang="it-IT" dirty="0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2F959F71-CB23-449C-BDC3-5DBCA0D616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3D88D191-7043-40A7-896D-206F13D7A8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382769"/>
          </a:xfrm>
        </p:spPr>
        <p:txBody>
          <a:bodyPr/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D866DDBA-BE95-4218-AA3D-7AA120557CC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3A3F053A-44E9-4D42-B274-68C15F79CEE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382769"/>
          </a:xfrm>
        </p:spPr>
        <p:txBody>
          <a:bodyPr/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5294378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AB64B670-F456-4DA6-B713-C27C384DDA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400">
                <a:solidFill>
                  <a:srgbClr val="ED613B"/>
                </a:solidFill>
                <a:latin typeface="Georgia" panose="02040502050405020303" pitchFamily="18" charset="0"/>
              </a:defRPr>
            </a:lvl1pPr>
          </a:lstStyle>
          <a:p>
            <a:r>
              <a:rPr lang="it-IT" dirty="0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6455759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486922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B31622-FA21-488A-AA60-539664108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800">
                <a:solidFill>
                  <a:srgbClr val="ED613B"/>
                </a:solidFill>
                <a:latin typeface="Georgia" panose="02040502050405020303" pitchFamily="18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6E053DF-1FFC-481C-B694-5A9A08D253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buClr>
                <a:srgbClr val="ED613B"/>
              </a:buClr>
              <a:defRPr sz="320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buClr>
                <a:srgbClr val="ED613B"/>
              </a:buClr>
              <a:defRPr sz="280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>
              <a:buClr>
                <a:srgbClr val="ED613B"/>
              </a:buClr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>
              <a:buClr>
                <a:srgbClr val="ED613B"/>
              </a:buClr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>
              <a:buClr>
                <a:srgbClr val="ED613B"/>
              </a:buClr>
              <a:defRPr sz="200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744AAC3C-76B6-4D4C-B804-A483CDF861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 dirty="0"/>
              <a:t>Modifica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1593801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63814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C7B0120-FAD7-4ED0-91A6-2FB286115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800">
                <a:solidFill>
                  <a:srgbClr val="ED613B"/>
                </a:solidFill>
                <a:latin typeface="Georgia" panose="02040502050405020303" pitchFamily="18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B55934D3-B14C-432B-B4E3-9766A351651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D3D9D401-E5BE-4807-A9A9-95E48C1245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2703380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CF30630-65B1-4CF1-9FEF-653608358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D613B"/>
                </a:solidFill>
                <a:latin typeface="Georgia" panose="02040502050405020303" pitchFamily="18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67161987-6AE0-4E7C-936B-B619056D960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buClr>
                <a:srgbClr val="ED613B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>
              <a:buClr>
                <a:srgbClr val="ED613B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>
              <a:buClr>
                <a:srgbClr val="ED613B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>
              <a:buClr>
                <a:srgbClr val="ED613B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>
              <a:buClr>
                <a:srgbClr val="ED613B"/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13596465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7387" y="2264066"/>
            <a:ext cx="6300000" cy="1249912"/>
          </a:xfrm>
          <a:solidFill>
            <a:schemeClr val="bg1"/>
          </a:solidFill>
          <a:ln>
            <a:noFill/>
          </a:ln>
        </p:spPr>
        <p:txBody>
          <a:bodyPr lIns="180000" tIns="180000" rIns="180000" bIns="180000" anchor="b" anchorCtr="0">
            <a:spAutoFit/>
          </a:bodyPr>
          <a:lstStyle>
            <a:lvl1pPr algn="l">
              <a:defRPr sz="3200" b="1">
                <a:solidFill>
                  <a:schemeClr val="tx2">
                    <a:lumMod val="50000"/>
                  </a:schemeClr>
                </a:solidFill>
                <a:latin typeface="Rockwell" panose="02060603020205020403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7387" y="3557725"/>
            <a:ext cx="6300000" cy="422405"/>
          </a:xfrm>
          <a:solidFill>
            <a:srgbClr val="CCE402"/>
          </a:solidFill>
        </p:spPr>
        <p:txBody>
          <a:bodyPr lIns="180000" tIns="72000" rIns="180000" bIns="72000" anchor="ctr" anchorCtr="0">
            <a:spAutoFit/>
          </a:bodyPr>
          <a:lstStyle>
            <a:lvl1pPr marL="0" indent="0" algn="l">
              <a:buNone/>
              <a:defRPr sz="2000" cap="all" baseline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Nome cognome</a:t>
            </a:r>
            <a:endParaRPr lang="en-US" dirty="0"/>
          </a:p>
        </p:txBody>
      </p:sp>
      <p:sp>
        <p:nvSpPr>
          <p:cNvPr id="9" name="Segnaposto testo 8"/>
          <p:cNvSpPr>
            <a:spLocks noGrp="1"/>
          </p:cNvSpPr>
          <p:nvPr>
            <p:ph type="body" sz="quarter" idx="11" hasCustomPrompt="1"/>
          </p:nvPr>
        </p:nvSpPr>
        <p:spPr bwMode="ltGray">
          <a:xfrm>
            <a:off x="577387" y="5621282"/>
            <a:ext cx="1258421" cy="313932"/>
          </a:xfrm>
          <a:noFill/>
        </p:spPr>
        <p:txBody>
          <a:bodyPr wrap="none">
            <a:spAutoFit/>
          </a:bodyPr>
          <a:lstStyle>
            <a:lvl1pPr marL="0" indent="0">
              <a:buNone/>
              <a:defRPr lang="it-IT" sz="1600" kern="1200" dirty="0">
                <a:solidFill>
                  <a:schemeClr val="tx1"/>
                </a:solidFill>
                <a:latin typeface="Rockwell" panose="02060603020205020403" pitchFamily="18" charset="0"/>
                <a:ea typeface="+mn-ea"/>
                <a:cs typeface="+mn-cs"/>
              </a:defRPr>
            </a:lvl1pPr>
          </a:lstStyle>
          <a:p>
            <a:pPr lvl="0"/>
            <a:r>
              <a:rPr lang="it-IT" dirty="0"/>
              <a:t>Luogo, dat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577387" y="6025652"/>
            <a:ext cx="1396985" cy="313932"/>
          </a:xfrm>
          <a:noFill/>
        </p:spPr>
        <p:txBody>
          <a:bodyPr wrap="none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  <a:latin typeface="Rockwell" panose="02060603020205020403" pitchFamily="18" charset="0"/>
              </a:defRPr>
            </a:lvl1pPr>
          </a:lstStyle>
          <a:p>
            <a:pPr lvl="0"/>
            <a:r>
              <a:rPr lang="it-IT" dirty="0"/>
              <a:t>Titolo evento</a:t>
            </a:r>
          </a:p>
        </p:txBody>
      </p:sp>
    </p:spTree>
    <p:extLst>
      <p:ext uri="{BB962C8B-B14F-4D97-AF65-F5344CB8AC3E}">
        <p14:creationId xmlns:p14="http://schemas.microsoft.com/office/powerpoint/2010/main" val="27707316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999" y="1188000"/>
            <a:ext cx="11136000" cy="4356000"/>
          </a:xfrm>
        </p:spPr>
        <p:txBody>
          <a:bodyPr/>
          <a:lstStyle>
            <a:lvl1pPr marL="0" indent="0">
              <a:buNone/>
              <a:defRPr sz="2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360000" indent="-180000">
              <a:defRPr sz="20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720000" indent="-180000">
              <a:defRPr sz="18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080000" indent="-180000">
              <a:defRPr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440000" indent="-180000">
              <a:defRPr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olo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 dirty="0"/>
          </a:p>
        </p:txBody>
      </p:sp>
      <p:sp>
        <p:nvSpPr>
          <p:cNvPr id="9" name="Segnaposto piè di pagina 8"/>
          <p:cNvSpPr>
            <a:spLocks noGrp="1"/>
          </p:cNvSpPr>
          <p:nvPr>
            <p:ph type="ftr" sz="quarter" idx="13"/>
          </p:nvPr>
        </p:nvSpPr>
        <p:spPr>
          <a:xfrm>
            <a:off x="527998" y="6390000"/>
            <a:ext cx="10571801" cy="360000"/>
          </a:xfrm>
          <a:prstGeom prst="rect">
            <a:avLst/>
          </a:prstGeom>
          <a:solidFill>
            <a:srgbClr val="CCE402">
              <a:alpha val="85000"/>
            </a:srgbClr>
          </a:solidFill>
        </p:spPr>
        <p:txBody>
          <a:bodyPr/>
          <a:lstStyle/>
          <a:p>
            <a:endParaRPr lang="it-IT" dirty="0"/>
          </a:p>
        </p:txBody>
      </p:sp>
      <p:sp>
        <p:nvSpPr>
          <p:cNvPr id="10" name="Segnaposto numero diapositiva 9"/>
          <p:cNvSpPr>
            <a:spLocks noGrp="1"/>
          </p:cNvSpPr>
          <p:nvPr>
            <p:ph type="sldNum" sz="quarter" idx="14"/>
          </p:nvPr>
        </p:nvSpPr>
        <p:spPr>
          <a:xfrm>
            <a:off x="11195999" y="6390000"/>
            <a:ext cx="468000" cy="360000"/>
          </a:xfrm>
          <a:prstGeom prst="rect">
            <a:avLst/>
          </a:prstGeom>
        </p:spPr>
        <p:txBody>
          <a:bodyPr/>
          <a:lstStyle/>
          <a:p>
            <a:fld id="{0E193EB6-7997-46F5-9BC5-814C63D672B3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549325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Google Shape;75;p17"/>
          <p:cNvPicPr preferRelativeResize="0"/>
          <p:nvPr/>
        </p:nvPicPr>
        <p:blipFill rotWithShape="1">
          <a:blip r:embed="rId2">
            <a:alphaModFix/>
          </a:blip>
          <a:srcRect l="34639"/>
          <a:stretch/>
        </p:blipFill>
        <p:spPr>
          <a:xfrm>
            <a:off x="10319657" y="0"/>
            <a:ext cx="1872343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6" name="Google Shape;76;p17"/>
          <p:cNvPicPr preferRelativeResize="0"/>
          <p:nvPr/>
        </p:nvPicPr>
        <p:blipFill rotWithShape="1">
          <a:blip r:embed="rId3">
            <a:alphaModFix/>
          </a:blip>
          <a:srcRect b="18334"/>
          <a:stretch/>
        </p:blipFill>
        <p:spPr>
          <a:xfrm>
            <a:off x="10787186" y="6071367"/>
            <a:ext cx="1099028" cy="511436"/>
          </a:xfrm>
          <a:prstGeom prst="rect">
            <a:avLst/>
          </a:prstGeom>
          <a:noFill/>
          <a:ln>
            <a:noFill/>
          </a:ln>
        </p:spPr>
      </p:pic>
      <p:sp>
        <p:nvSpPr>
          <p:cNvPr id="77" name="Google Shape;77;p17"/>
          <p:cNvSpPr txBox="1">
            <a:spLocks noGrp="1"/>
          </p:cNvSpPr>
          <p:nvPr>
            <p:ph type="body" idx="1"/>
          </p:nvPr>
        </p:nvSpPr>
        <p:spPr>
          <a:xfrm>
            <a:off x="795700" y="1123267"/>
            <a:ext cx="9622000" cy="494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82588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1E4E79"/>
              </a:buClr>
              <a:buSzPts val="2100"/>
              <a:buChar char="•"/>
              <a:defRPr>
                <a:solidFill>
                  <a:srgbClr val="1E4E79"/>
                </a:solidFill>
              </a:defRPr>
            </a:lvl1pPr>
            <a:lvl2pPr marL="1219170" lvl="1" indent="-4571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1E4E79"/>
              </a:buClr>
              <a:buSzPts val="1800"/>
              <a:buChar char="•"/>
              <a:defRPr>
                <a:solidFill>
                  <a:srgbClr val="1E4E79"/>
                </a:solidFill>
              </a:defRPr>
            </a:lvl2pPr>
            <a:lvl3pPr marL="1828754" lvl="2" indent="-431789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1E4E79"/>
              </a:buClr>
              <a:buSzPts val="1500"/>
              <a:buChar char="•"/>
              <a:defRPr>
                <a:solidFill>
                  <a:srgbClr val="1E4E79"/>
                </a:solidFill>
              </a:defRPr>
            </a:lvl3pPr>
            <a:lvl4pPr marL="2438339" lvl="3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1E4E79"/>
              </a:buClr>
              <a:buSzPts val="1400"/>
              <a:buChar char="•"/>
              <a:defRPr>
                <a:solidFill>
                  <a:srgbClr val="1E4E79"/>
                </a:solidFill>
              </a:defRPr>
            </a:lvl4pPr>
            <a:lvl5pPr marL="3047924" lvl="4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1E4E79"/>
              </a:buClr>
              <a:buSzPts val="1400"/>
              <a:buChar char="•"/>
              <a:defRPr>
                <a:solidFill>
                  <a:srgbClr val="1E4E79"/>
                </a:solidFill>
              </a:defRPr>
            </a:lvl5pPr>
            <a:lvl6pPr marL="3657509" lvl="5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17"/>
          <p:cNvSpPr txBox="1">
            <a:spLocks noGrp="1"/>
          </p:cNvSpPr>
          <p:nvPr>
            <p:ph type="title"/>
          </p:nvPr>
        </p:nvSpPr>
        <p:spPr>
          <a:xfrm>
            <a:off x="795695" y="400364"/>
            <a:ext cx="9894800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65081"/>
              </a:buClr>
              <a:buSzPts val="2400"/>
              <a:buFont typeface="Calibri"/>
              <a:buNone/>
              <a:defRPr>
                <a:solidFill>
                  <a:srgbClr val="06508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17"/>
          <p:cNvSpPr txBox="1"/>
          <p:nvPr/>
        </p:nvSpPr>
        <p:spPr>
          <a:xfrm>
            <a:off x="8785191" y="6317559"/>
            <a:ext cx="1532963" cy="340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3435F"/>
              </a:buClr>
              <a:buSzPts val="900"/>
              <a:buFont typeface="Arial"/>
              <a:buNone/>
            </a:pPr>
            <a:r>
              <a:rPr lang="en" sz="1200" dirty="0">
                <a:solidFill>
                  <a:srgbClr val="03435F"/>
                </a:solidFill>
                <a:latin typeface="Calibri"/>
                <a:ea typeface="Calibri"/>
                <a:cs typeface="Calibri"/>
                <a:sym typeface="Calibri"/>
              </a:rPr>
              <a:t>www.geant.org</a:t>
            </a:r>
            <a:endParaRPr sz="1200" dirty="0">
              <a:solidFill>
                <a:srgbClr val="03435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708932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3440BB9F-CE87-492C-BD13-F9CC099653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Diapositiva think-cell" r:id="rId5" imgW="383" imgH="384" progId="TCLayout.ActiveDocument.1">
                  <p:embed/>
                </p:oleObj>
              </mc:Choice>
              <mc:Fallback>
                <p:oleObj name="Diapositiva think-cell" r:id="rId5" imgW="383" imgH="384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3440BB9F-CE87-492C-BD13-F9CC099653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tx2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7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196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9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it-IT" dirty="0"/>
              <a:t>HEP Computing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9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9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910"/>
            <a:ext cx="2743200" cy="969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N_HPC_Update 23_02_v3 (002)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1967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FFFFFF"/>
                </a:solidFill>
              </a:rPr>
              <a:t>HEP Computing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7D35E99-3B51-FC4C-8FE2-079D961C5324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307406"/>
      </p:ext>
    </p:extLst>
  </p:cSld>
  <p:clrMapOvr>
    <a:masterClrMapping/>
  </p:clrMapOvr>
  <p:transition>
    <p:pull dir="rd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7056788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4696079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2588278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1850" y="2522483"/>
            <a:ext cx="10515600" cy="2039992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075493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8650455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0445535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137625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950905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1276543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6793693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71734136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0355087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>
            <a:extLst>
              <a:ext uri="{FF2B5EF4-FFF2-40B4-BE49-F238E27FC236}">
                <a16:creationId xmlns:a16="http://schemas.microsoft.com/office/drawing/2014/main" id="{3440BB9F-CE87-492C-BD13-F9CC099653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2" name="Diapositiva think-cell" r:id="rId5" imgW="383" imgH="384" progId="TCLayout.ActiveDocument.1">
                  <p:embed/>
                </p:oleObj>
              </mc:Choice>
              <mc:Fallback>
                <p:oleObj name="Diapositiva think-cell" r:id="rId5" imgW="383" imgH="384" progId="TCLayout.ActiveDocument.1">
                  <p:embed/>
                  <p:pic>
                    <p:nvPicPr>
                      <p:cNvPr id="4" name="Oggetto 3" hidden="1">
                        <a:extLst>
                          <a:ext uri="{FF2B5EF4-FFF2-40B4-BE49-F238E27FC236}">
                            <a16:creationId xmlns:a16="http://schemas.microsoft.com/office/drawing/2014/main" id="{3440BB9F-CE87-492C-BD13-F9CC099653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eaLnBrk="1">
              <a:lnSpc>
                <a:spcPct val="90000"/>
              </a:lnSpc>
              <a:spcAft>
                <a:spcPts val="999"/>
              </a:spcAft>
            </a:pPr>
            <a:endParaRPr lang="en-US" sz="1198" dirty="0">
              <a:solidFill>
                <a:schemeClr val="tx2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7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196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2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 eaLnBrk="1">
              <a:defRPr sz="999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r>
              <a:rPr lang="it-IT" dirty="0"/>
              <a:t>HEP Computing</a:t>
            </a:r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34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99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99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910"/>
            <a:ext cx="2743200" cy="9690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it-IT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N_HPC_Update 23_02_v3 (002)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256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>
                <a:solidFill>
                  <a:srgbClr val="FFFFFF"/>
                </a:solidFill>
              </a:rPr>
              <a:t>HEP Computing</a:t>
            </a:r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7D35E99-3B51-FC4C-8FE2-079D961C5324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5807926"/>
      </p:ext>
    </p:extLst>
  </p:cSld>
  <p:clrMapOvr>
    <a:masterClrMapping/>
  </p:clrMapOvr>
  <p:transition>
    <p:pull dir="r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838200" y="1902371"/>
            <a:ext cx="5181600" cy="4183119"/>
          </a:xfrm>
        </p:spPr>
        <p:txBody>
          <a:bodyPr/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72200" y="1902371"/>
            <a:ext cx="5181600" cy="4183119"/>
          </a:xfrm>
        </p:spPr>
        <p:txBody>
          <a:bodyPr/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6201593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524000" y="1939652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524000" y="4424854"/>
            <a:ext cx="9144000" cy="1558159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138653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654371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1850" y="2522483"/>
            <a:ext cx="10515600" cy="2039992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156873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838200" y="1902371"/>
            <a:ext cx="5181600" cy="4183119"/>
          </a:xfrm>
        </p:spPr>
        <p:txBody>
          <a:bodyPr/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172200" y="1902371"/>
            <a:ext cx="5181600" cy="4183119"/>
          </a:xfrm>
        </p:spPr>
        <p:txBody>
          <a:bodyPr/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335799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9788" y="1881351"/>
            <a:ext cx="5157787" cy="62372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839788" y="2582862"/>
            <a:ext cx="5157787" cy="3513138"/>
          </a:xfrm>
        </p:spPr>
        <p:txBody>
          <a:bodyPr/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72200" y="1881351"/>
            <a:ext cx="5183188" cy="62372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72200" y="2582862"/>
            <a:ext cx="5183188" cy="35131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3134569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09231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9989980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1940446"/>
            <a:ext cx="3932237" cy="1182414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183188" y="1940446"/>
            <a:ext cx="6172200" cy="392060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3205655"/>
            <a:ext cx="3932237" cy="266333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37834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1923393"/>
            <a:ext cx="3932237" cy="117715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5183188" y="1923393"/>
            <a:ext cx="6172200" cy="393765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3195144"/>
            <a:ext cx="3932237" cy="267384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907911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118790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839788" y="1881351"/>
            <a:ext cx="5157787" cy="62372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839788" y="2582862"/>
            <a:ext cx="5157787" cy="3513138"/>
          </a:xfrm>
        </p:spPr>
        <p:txBody>
          <a:bodyPr/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6172200" y="1881351"/>
            <a:ext cx="5183188" cy="62372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172200" y="2582862"/>
            <a:ext cx="5183188" cy="35131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6165138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405232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it-IT"/>
              <a:t>HEP Computing</a:t>
            </a:r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636363"/>
                </a:solidFill>
                <a:latin typeface="Arial"/>
                <a:cs typeface="Arial"/>
              </a:defRPr>
            </a:lvl1pPr>
          </a:lstStyle>
          <a:p>
            <a:pPr marL="12700">
              <a:lnSpc>
                <a:spcPct val="100000"/>
              </a:lnSpc>
              <a:spcBef>
                <a:spcPts val="60"/>
              </a:spcBef>
            </a:pPr>
            <a:r>
              <a:rPr spc="-20" dirty="0"/>
              <a:t>Page</a:t>
            </a:r>
            <a:r>
              <a:rPr spc="-25" dirty="0"/>
              <a:t> </a:t>
            </a:r>
            <a:fld id="{81D60167-4931-47E6-BA6A-407CBD079E47}" type="slidenum">
              <a:rPr spc="30" dirty="0"/>
              <a:t>‹#›</a:t>
            </a:fld>
            <a:endParaRPr spc="30" dirty="0"/>
          </a:p>
        </p:txBody>
      </p:sp>
    </p:spTree>
    <p:extLst>
      <p:ext uri="{BB962C8B-B14F-4D97-AF65-F5344CB8AC3E}">
        <p14:creationId xmlns:p14="http://schemas.microsoft.com/office/powerpoint/2010/main" val="15031422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stile</a:t>
            </a:r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059461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545581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1940446"/>
            <a:ext cx="3932237" cy="1182414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5183188" y="1940446"/>
            <a:ext cx="6172200" cy="392060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3205655"/>
            <a:ext cx="3932237" cy="266333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60248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39788" y="1923393"/>
            <a:ext cx="3932237" cy="117715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stile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5183188" y="1923393"/>
            <a:ext cx="6172200" cy="393765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839788" y="3195144"/>
            <a:ext cx="3932237" cy="267384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it-IT"/>
              <a:t>HEP Computing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5D298C-7C67-F34C-A9DE-4238970C2353}" type="slidenum">
              <a:rPr lang="it-IT" smtClean="0"/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57347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heme" Target="../theme/theme4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heme" Target="../theme/theme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vmlDrawing" Target="../drawings/vmlDrawing3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magine 11">
            <a:extLst>
              <a:ext uri="{FF2B5EF4-FFF2-40B4-BE49-F238E27FC236}">
                <a16:creationId xmlns:a16="http://schemas.microsoft.com/office/drawing/2014/main" id="{25D06AC3-99E0-BC43-97C7-DE23886B7623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8334709" y="199795"/>
            <a:ext cx="2659113" cy="1632861"/>
          </a:xfrm>
          <a:prstGeom prst="rect">
            <a:avLst/>
          </a:prstGeom>
          <a:noFill/>
        </p:spPr>
      </p:pic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1429407" y="365125"/>
            <a:ext cx="7181193" cy="12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1429408" y="1877105"/>
            <a:ext cx="9301654" cy="41172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8610600" y="6173787"/>
            <a:ext cx="15949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r>
              <a:rPr lang="it-IT"/>
              <a:t>HEP Computing</a:t>
            </a:r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2238704" y="6173787"/>
            <a:ext cx="6266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/>
                </a:solidFill>
              </a:defRPr>
            </a:lvl1pPr>
          </a:lstStyle>
          <a:p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10310648" y="6173787"/>
            <a:ext cx="1043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/>
                </a:solidFill>
              </a:defRPr>
            </a:lvl1pPr>
          </a:lstStyle>
          <a:p>
            <a:fld id="{685D298C-7C67-F34C-A9DE-4238970C2353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7" name="bk object 17"/>
          <p:cNvSpPr/>
          <p:nvPr userDrawn="1"/>
        </p:nvSpPr>
        <p:spPr>
          <a:xfrm>
            <a:off x="1429408" y="1690687"/>
            <a:ext cx="9564414" cy="141969"/>
          </a:xfrm>
          <a:custGeom>
            <a:avLst/>
            <a:gdLst/>
            <a:ahLst/>
            <a:cxnLst/>
            <a:rect l="l" t="t" r="r" b="b"/>
            <a:pathLst>
              <a:path w="8553450" h="171450">
                <a:moveTo>
                  <a:pt x="0" y="0"/>
                </a:moveTo>
                <a:lnTo>
                  <a:pt x="8553448" y="0"/>
                </a:lnTo>
                <a:lnTo>
                  <a:pt x="8553448" y="171450"/>
                </a:lnTo>
                <a:lnTo>
                  <a:pt x="0" y="171450"/>
                </a:lnTo>
                <a:lnTo>
                  <a:pt x="0" y="0"/>
                </a:lnTo>
                <a:close/>
              </a:path>
            </a:pathLst>
          </a:custGeom>
          <a:solidFill>
            <a:srgbClr val="009FE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bk object 16"/>
          <p:cNvSpPr/>
          <p:nvPr userDrawn="1"/>
        </p:nvSpPr>
        <p:spPr>
          <a:xfrm>
            <a:off x="838201" y="1698625"/>
            <a:ext cx="496614" cy="134031"/>
          </a:xfrm>
          <a:custGeom>
            <a:avLst/>
            <a:gdLst/>
            <a:ahLst/>
            <a:cxnLst/>
            <a:rect l="l" t="t" r="r" b="b"/>
            <a:pathLst>
              <a:path w="533400" h="171450">
                <a:moveTo>
                  <a:pt x="0" y="0"/>
                </a:moveTo>
                <a:lnTo>
                  <a:pt x="533399" y="0"/>
                </a:lnTo>
                <a:lnTo>
                  <a:pt x="533399" y="171450"/>
                </a:lnTo>
                <a:lnTo>
                  <a:pt x="0" y="171450"/>
                </a:lnTo>
                <a:lnTo>
                  <a:pt x="0" y="0"/>
                </a:lnTo>
                <a:close/>
              </a:path>
            </a:pathLst>
          </a:custGeom>
          <a:solidFill>
            <a:srgbClr val="1D3F67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11554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600"/>
        </a:spcBef>
        <a:buFont typeface="Arial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600"/>
        </a:spcBef>
        <a:buFont typeface="Arial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600"/>
        </a:spcBef>
        <a:buFont typeface="Arial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600"/>
        </a:spcBef>
        <a:buFont typeface="Arial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600"/>
        </a:spcBef>
        <a:buFont typeface="Arial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4A392C6E-354C-4749-94A5-8F1BFF06B5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0FE8678C-A687-44B3-AC22-629A67F8D6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1262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08304421-C01E-43BD-979F-43D842AF4AA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923" y="5861476"/>
            <a:ext cx="2194560" cy="1082650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31357B17-7ED1-4984-99F9-0DA67F0A415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0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134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ED613B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ED613B"/>
        </a:buClr>
        <a:buFont typeface="Arial" panose="020B0604020202020204" pitchFamily="34" charset="0"/>
        <a:buChar char="•"/>
        <a:defRPr sz="2800" kern="1200">
          <a:solidFill>
            <a:schemeClr val="tx1">
              <a:lumMod val="85000"/>
              <a:lumOff val="15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D613B"/>
        </a:buClr>
        <a:buFont typeface="Arial" panose="020B0604020202020204" pitchFamily="34" charset="0"/>
        <a:buChar char="•"/>
        <a:defRPr sz="2400" kern="1200">
          <a:solidFill>
            <a:schemeClr val="tx1">
              <a:lumMod val="85000"/>
              <a:lumOff val="15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D613B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D613B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D613B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108000"/>
            <a:ext cx="12192000" cy="460502"/>
          </a:xfrm>
          <a:prstGeom prst="rect">
            <a:avLst/>
          </a:prstGeom>
          <a:ln w="12700">
            <a:gradFill>
              <a:gsLst>
                <a:gs pos="96000">
                  <a:schemeClr val="tx1">
                    <a:alpha val="0"/>
                  </a:schemeClr>
                </a:gs>
                <a:gs pos="100000">
                  <a:srgbClr val="152139"/>
                </a:gs>
              </a:gsLst>
              <a:lin ang="5400000" scaled="1"/>
            </a:gradFill>
          </a:ln>
        </p:spPr>
        <p:txBody>
          <a:bodyPr vert="horz" lIns="576000" tIns="36000" rIns="396000" bIns="36000" rtlCol="0" anchor="t" anchorCtr="0">
            <a:spAutoFit/>
          </a:bodyPr>
          <a:lstStyle/>
          <a:p>
            <a:r>
              <a:rPr lang="it-IT" dirty="0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8000" y="1188000"/>
            <a:ext cx="11136000" cy="4356000"/>
          </a:xfrm>
          <a:prstGeom prst="rect">
            <a:avLst/>
          </a:prstGeom>
        </p:spPr>
        <p:txBody>
          <a:bodyPr vert="horz" lIns="72000" tIns="45720" rIns="72000" bIns="45720" rtlCol="0">
            <a:normAutofit/>
          </a:bodyPr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  <a:endParaRPr lang="en-US" dirty="0"/>
          </a:p>
        </p:txBody>
      </p:sp>
      <p:sp>
        <p:nvSpPr>
          <p:cNvPr id="7" name="Segnaposto piè di pagina 8">
            <a:extLst>
              <a:ext uri="{FF2B5EF4-FFF2-40B4-BE49-F238E27FC236}">
                <a16:creationId xmlns:a16="http://schemas.microsoft.com/office/drawing/2014/main" id="{3C6413AB-42FF-CC45-8387-AC0491620A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27998" y="6390000"/>
            <a:ext cx="10571801" cy="360000"/>
          </a:xfrm>
          <a:prstGeom prst="rect">
            <a:avLst/>
          </a:prstGeom>
          <a:solidFill>
            <a:srgbClr val="CCE402">
              <a:alpha val="85000"/>
            </a:srgbClr>
          </a:solidFill>
        </p:spPr>
        <p:txBody>
          <a:bodyPr/>
          <a:lstStyle/>
          <a:p>
            <a:endParaRPr lang="it-IT" dirty="0"/>
          </a:p>
        </p:txBody>
      </p:sp>
      <p:sp>
        <p:nvSpPr>
          <p:cNvPr id="8" name="Segnaposto numero diapositiva 9">
            <a:extLst>
              <a:ext uri="{FF2B5EF4-FFF2-40B4-BE49-F238E27FC236}">
                <a16:creationId xmlns:a16="http://schemas.microsoft.com/office/drawing/2014/main" id="{8E4480E0-1084-E64B-809D-03880AF475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5999" y="6390000"/>
            <a:ext cx="468000" cy="360000"/>
          </a:xfrm>
          <a:prstGeom prst="rect">
            <a:avLst/>
          </a:prstGeom>
        </p:spPr>
        <p:txBody>
          <a:bodyPr/>
          <a:lstStyle/>
          <a:p>
            <a:fld id="{0E193EB6-7997-46F5-9BC5-814C63D672B3}" type="slidenum">
              <a:rPr lang="it-IT" smtClean="0"/>
              <a:t>‹#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237992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800" i="0" kern="1200" dirty="0">
          <a:solidFill>
            <a:schemeClr val="tx1"/>
          </a:solidFill>
          <a:latin typeface="Rockwell" panose="02060603020205020403" pitchFamily="18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720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080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1440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59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24C600B-7712-40FB-B797-80B9E29172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Diapositiva think-cell" r:id="rId7" imgW="240" imgH="240" progId="TCLayout.ActiveDocument.1">
                  <p:embed/>
                </p:oleObj>
              </mc:Choice>
              <mc:Fallback>
                <p:oleObj name="Diapositiva think-cell" r:id="rId7" imgW="240" imgH="24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24C600B-7712-40FB-B797-80B9E29172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2B25FD-B962-40C9-980C-2FA65A0EE2C5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798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2" y="201600"/>
            <a:ext cx="10972800" cy="860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425600"/>
            <a:ext cx="109728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51202" y="6519672"/>
            <a:ext cx="4579200" cy="2011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98">
                <a:solidFill>
                  <a:schemeClr val="bg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609601" y="6519672"/>
            <a:ext cx="886506" cy="2011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fld id="{9AE4D82F-B047-469B-AC52-A46321747EAF}" type="slidenum">
              <a:rPr lang="en-GB" sz="1098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GB" sz="1098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1494739" y="6519672"/>
            <a:ext cx="1370886" cy="201168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1098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HEP Compu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798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80" r:id="rId2"/>
  </p:sldLayoutIdLst>
  <p:hf hdr="0"/>
  <p:txStyles>
    <p:titleStyle>
      <a:lvl1pPr algn="l" defTabSz="913486" rtl="0" eaLnBrk="1" latinLnBrk="0" hangingPunct="1">
        <a:lnSpc>
          <a:spcPct val="85000"/>
        </a:lnSpc>
        <a:spcBef>
          <a:spcPct val="0"/>
        </a:spcBef>
        <a:buNone/>
        <a:defRPr sz="2798" b="1" kern="1200">
          <a:solidFill>
            <a:srgbClr val="404040"/>
          </a:solidFill>
          <a:latin typeface="+mn-lt"/>
          <a:ea typeface="+mj-ea"/>
          <a:cs typeface="Arial" pitchFamily="34" charset="0"/>
        </a:defRPr>
      </a:lvl1pPr>
    </p:titleStyle>
    <p:bodyStyle>
      <a:lvl1pPr marL="356260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398" kern="1200">
          <a:solidFill>
            <a:srgbClr val="404040"/>
          </a:solidFill>
          <a:latin typeface="+mn-lt"/>
          <a:ea typeface="+mn-ea"/>
          <a:cs typeface="+mn-cs"/>
        </a:defRPr>
      </a:lvl1pPr>
      <a:lvl2pPr marL="712519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998" kern="1200">
          <a:solidFill>
            <a:srgbClr val="404040"/>
          </a:solidFill>
          <a:latin typeface="+mn-lt"/>
          <a:ea typeface="+mn-ea"/>
          <a:cs typeface="+mn-cs"/>
        </a:defRPr>
      </a:lvl2pPr>
      <a:lvl3pPr marL="1068778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798" kern="1200">
          <a:solidFill>
            <a:srgbClr val="404040"/>
          </a:solidFill>
          <a:latin typeface="+mn-lt"/>
          <a:ea typeface="+mn-ea"/>
          <a:cs typeface="+mn-cs"/>
        </a:defRPr>
      </a:lvl3pPr>
      <a:lvl4pPr marL="1425038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598" kern="1200">
          <a:solidFill>
            <a:srgbClr val="404040"/>
          </a:solidFill>
          <a:latin typeface="+mn-lt"/>
          <a:ea typeface="+mn-ea"/>
          <a:cs typeface="+mn-cs"/>
        </a:defRPr>
      </a:lvl4pPr>
      <a:lvl5pPr marL="1781297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598" kern="1200">
          <a:solidFill>
            <a:srgbClr val="404040"/>
          </a:solidFill>
          <a:latin typeface="+mn-lt"/>
          <a:ea typeface="+mn-ea"/>
          <a:cs typeface="+mn-cs"/>
        </a:defRPr>
      </a:lvl5pPr>
      <a:lvl6pPr marL="2512086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8829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572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315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333">
                <a:solidFill>
                  <a:schemeClr val="dk2"/>
                </a:solidFill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13230114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</p:sldLayoutIdLst>
  <p:hf hdr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24C600B-7712-40FB-B797-80B9E29172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8" name="Diapositiva think-cell" r:id="rId7" imgW="240" imgH="240" progId="TCLayout.ActiveDocument.1">
                  <p:embed/>
                </p:oleObj>
              </mc:Choice>
              <mc:Fallback>
                <p:oleObj name="Diapositiva think-cell" r:id="rId7" imgW="240" imgH="24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24C600B-7712-40FB-B797-80B9E29172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2B25FD-B962-40C9-980C-2FA65A0EE2C5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667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798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2" y="201600"/>
            <a:ext cx="10972800" cy="860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425600"/>
            <a:ext cx="109728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51202" y="6519672"/>
            <a:ext cx="4579200" cy="2011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98">
                <a:solidFill>
                  <a:schemeClr val="bg1"/>
                </a:solidFill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609601" y="6519672"/>
            <a:ext cx="886506" cy="20116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fld id="{9AE4D82F-B047-469B-AC52-A46321747EAF}" type="slidenum">
              <a:rPr lang="en-GB" sz="1098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GB" sz="1098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1494739" y="6519672"/>
            <a:ext cx="1370886" cy="201168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1098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it-IT" dirty="0"/>
              <a:t>HEP Comput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9118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2" r:id="rId2"/>
  </p:sldLayoutIdLst>
  <p:hf hdr="0"/>
  <p:txStyles>
    <p:titleStyle>
      <a:lvl1pPr algn="l" defTabSz="913486" rtl="0" eaLnBrk="1" latinLnBrk="0" hangingPunct="1">
        <a:lnSpc>
          <a:spcPct val="85000"/>
        </a:lnSpc>
        <a:spcBef>
          <a:spcPct val="0"/>
        </a:spcBef>
        <a:buNone/>
        <a:defRPr sz="2798" b="1" kern="1200">
          <a:solidFill>
            <a:srgbClr val="404040"/>
          </a:solidFill>
          <a:latin typeface="+mn-lt"/>
          <a:ea typeface="+mj-ea"/>
          <a:cs typeface="Arial" pitchFamily="34" charset="0"/>
        </a:defRPr>
      </a:lvl1pPr>
    </p:titleStyle>
    <p:bodyStyle>
      <a:lvl1pPr marL="356260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398" kern="1200">
          <a:solidFill>
            <a:srgbClr val="404040"/>
          </a:solidFill>
          <a:latin typeface="+mn-lt"/>
          <a:ea typeface="+mn-ea"/>
          <a:cs typeface="+mn-cs"/>
        </a:defRPr>
      </a:lvl1pPr>
      <a:lvl2pPr marL="712519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998" kern="1200">
          <a:solidFill>
            <a:srgbClr val="404040"/>
          </a:solidFill>
          <a:latin typeface="+mn-lt"/>
          <a:ea typeface="+mn-ea"/>
          <a:cs typeface="+mn-cs"/>
        </a:defRPr>
      </a:lvl2pPr>
      <a:lvl3pPr marL="1068778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798" kern="1200">
          <a:solidFill>
            <a:srgbClr val="404040"/>
          </a:solidFill>
          <a:latin typeface="+mn-lt"/>
          <a:ea typeface="+mn-ea"/>
          <a:cs typeface="+mn-cs"/>
        </a:defRPr>
      </a:lvl3pPr>
      <a:lvl4pPr marL="1425038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598" kern="1200">
          <a:solidFill>
            <a:srgbClr val="404040"/>
          </a:solidFill>
          <a:latin typeface="+mn-lt"/>
          <a:ea typeface="+mn-ea"/>
          <a:cs typeface="+mn-cs"/>
        </a:defRPr>
      </a:lvl4pPr>
      <a:lvl5pPr marL="1781297" indent="-356260" algn="l" defTabSz="913486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598" kern="1200">
          <a:solidFill>
            <a:srgbClr val="404040"/>
          </a:solidFill>
          <a:latin typeface="+mn-lt"/>
          <a:ea typeface="+mn-ea"/>
          <a:cs typeface="+mn-cs"/>
        </a:defRPr>
      </a:lvl5pPr>
      <a:lvl6pPr marL="2512086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6pPr>
      <a:lvl7pPr marL="2968829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7pPr>
      <a:lvl8pPr marL="3425572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8pPr>
      <a:lvl9pPr marL="3882315" indent="-228372" algn="l" defTabSz="913486" rtl="0" eaLnBrk="1" latinLnBrk="0" hangingPunct="1">
        <a:spcBef>
          <a:spcPct val="20000"/>
        </a:spcBef>
        <a:buFont typeface="Arial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1pPr>
      <a:lvl2pPr marL="4567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2pPr>
      <a:lvl3pPr marL="913486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3pPr>
      <a:lvl4pPr marL="1370229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4pPr>
      <a:lvl5pPr marL="1826972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5pPr>
      <a:lvl6pPr marL="2283715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6pPr>
      <a:lvl7pPr marL="2740457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7pPr>
      <a:lvl8pPr marL="3197201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8pPr>
      <a:lvl9pPr marL="3653943" algn="l" defTabSz="913486" rtl="0" eaLnBrk="1" latinLnBrk="0" hangingPunct="1">
        <a:defRPr sz="17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magine 11">
            <a:extLst>
              <a:ext uri="{FF2B5EF4-FFF2-40B4-BE49-F238E27FC236}">
                <a16:creationId xmlns:a16="http://schemas.microsoft.com/office/drawing/2014/main" id="{25D06AC3-99E0-BC43-97C7-DE23886B7623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8334709" y="199795"/>
            <a:ext cx="2659113" cy="1632861"/>
          </a:xfrm>
          <a:prstGeom prst="rect">
            <a:avLst/>
          </a:prstGeom>
          <a:noFill/>
        </p:spPr>
      </p:pic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1429407" y="365125"/>
            <a:ext cx="7181193" cy="12811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dirty="0"/>
              <a:t>Fare clic per modificare stile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1429408" y="1877105"/>
            <a:ext cx="9301654" cy="41172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8610600" y="6173787"/>
            <a:ext cx="159494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r>
              <a:rPr lang="it-IT"/>
              <a:t>HEP Computing</a:t>
            </a:r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2238704" y="6173787"/>
            <a:ext cx="6266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/>
                </a:solidFill>
              </a:defRPr>
            </a:lvl1pPr>
          </a:lstStyle>
          <a:p>
            <a:endParaRPr lang="it-IT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10310648" y="6173787"/>
            <a:ext cx="10431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/>
                </a:solidFill>
              </a:defRPr>
            </a:lvl1pPr>
          </a:lstStyle>
          <a:p>
            <a:fld id="{685D298C-7C67-F34C-A9DE-4238970C2353}" type="slidenum">
              <a:rPr lang="it-IT" smtClean="0"/>
              <a:pPr/>
              <a:t>‹#›</a:t>
            </a:fld>
            <a:endParaRPr lang="it-IT" dirty="0"/>
          </a:p>
        </p:txBody>
      </p:sp>
      <p:sp>
        <p:nvSpPr>
          <p:cNvPr id="7" name="bk object 17"/>
          <p:cNvSpPr/>
          <p:nvPr userDrawn="1"/>
        </p:nvSpPr>
        <p:spPr>
          <a:xfrm>
            <a:off x="1429408" y="1690687"/>
            <a:ext cx="9564414" cy="141969"/>
          </a:xfrm>
          <a:custGeom>
            <a:avLst/>
            <a:gdLst/>
            <a:ahLst/>
            <a:cxnLst/>
            <a:rect l="l" t="t" r="r" b="b"/>
            <a:pathLst>
              <a:path w="8553450" h="171450">
                <a:moveTo>
                  <a:pt x="0" y="0"/>
                </a:moveTo>
                <a:lnTo>
                  <a:pt x="8553448" y="0"/>
                </a:lnTo>
                <a:lnTo>
                  <a:pt x="8553448" y="171450"/>
                </a:lnTo>
                <a:lnTo>
                  <a:pt x="0" y="171450"/>
                </a:lnTo>
                <a:lnTo>
                  <a:pt x="0" y="0"/>
                </a:lnTo>
                <a:close/>
              </a:path>
            </a:pathLst>
          </a:custGeom>
          <a:solidFill>
            <a:srgbClr val="009FE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bk object 16"/>
          <p:cNvSpPr/>
          <p:nvPr userDrawn="1"/>
        </p:nvSpPr>
        <p:spPr>
          <a:xfrm>
            <a:off x="838201" y="1698625"/>
            <a:ext cx="496614" cy="134031"/>
          </a:xfrm>
          <a:custGeom>
            <a:avLst/>
            <a:gdLst/>
            <a:ahLst/>
            <a:cxnLst/>
            <a:rect l="l" t="t" r="r" b="b"/>
            <a:pathLst>
              <a:path w="533400" h="171450">
                <a:moveTo>
                  <a:pt x="0" y="0"/>
                </a:moveTo>
                <a:lnTo>
                  <a:pt x="533399" y="0"/>
                </a:lnTo>
                <a:lnTo>
                  <a:pt x="533399" y="171450"/>
                </a:lnTo>
                <a:lnTo>
                  <a:pt x="0" y="171450"/>
                </a:lnTo>
                <a:lnTo>
                  <a:pt x="0" y="0"/>
                </a:lnTo>
                <a:close/>
              </a:path>
            </a:pathLst>
          </a:custGeom>
          <a:solidFill>
            <a:srgbClr val="1D3F67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66668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600"/>
        </a:spcBef>
        <a:buFont typeface="Arial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600"/>
        </a:spcBef>
        <a:buFont typeface="Arial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600"/>
        </a:spcBef>
        <a:buFont typeface="Arial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600"/>
        </a:spcBef>
        <a:buFont typeface="Arial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600"/>
        </a:spcBef>
        <a:buFont typeface="Arial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4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4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4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4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4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iff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9.xml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FB17A7-808C-1E4C-9796-B001CC2C1A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35670"/>
            <a:ext cx="9144000" cy="2387600"/>
          </a:xfrm>
        </p:spPr>
        <p:txBody>
          <a:bodyPr>
            <a:normAutofit/>
          </a:bodyPr>
          <a:lstStyle/>
          <a:p>
            <a:r>
              <a:rPr lang="en-IT" sz="5400"/>
              <a:t>INFN Comput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A1E2A67-1ECA-6D46-98E3-75F092BD98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258441"/>
            <a:ext cx="9144000" cy="1558159"/>
          </a:xfrm>
        </p:spPr>
        <p:txBody>
          <a:bodyPr>
            <a:normAutofit/>
          </a:bodyPr>
          <a:lstStyle/>
          <a:p>
            <a:r>
              <a:rPr lang="en-IT" sz="3600"/>
              <a:t>Diego Bettoni</a:t>
            </a:r>
          </a:p>
        </p:txBody>
      </p:sp>
    </p:spTree>
    <p:extLst>
      <p:ext uri="{BB962C8B-B14F-4D97-AF65-F5344CB8AC3E}">
        <p14:creationId xmlns:p14="http://schemas.microsoft.com/office/powerpoint/2010/main" val="495380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8FFDCBB7-CC8E-364D-B28F-422ADF9C67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FE041B5-CE7A-9D4C-AD17-66FB37CD70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P Computing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B0C6C8-52B4-D244-9A18-82DEC4AC6E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DB1646-3B1B-1C47-9497-CA29C17C3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D298C-7C67-F34C-A9DE-4238970C2353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17966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3FC7B573-6F2F-8A23-64ED-A4D0AAE347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E3578283-28A4-6541-936D-6905D511BE12}"/>
              </a:ext>
            </a:extLst>
          </p:cNvPr>
          <p:cNvSpPr/>
          <p:nvPr/>
        </p:nvSpPr>
        <p:spPr>
          <a:xfrm>
            <a:off x="531341" y="6437870"/>
            <a:ext cx="568410" cy="2842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10DDAE4C-F44A-8D45-BF54-5A82071DFCB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P Computing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7F5BBD54-AD6F-544D-9B57-6149889D55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63F7F6FF-E19D-CE45-939B-C0B9D2608A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CA86FA-A75B-4B6C-912A-D4FCAD802F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30833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B76F936F-FD2F-2046-91A9-AA51FA3393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5A73A61-A17B-C74C-B719-A2897504BDE5}"/>
              </a:ext>
            </a:extLst>
          </p:cNvPr>
          <p:cNvSpPr/>
          <p:nvPr/>
        </p:nvSpPr>
        <p:spPr>
          <a:xfrm>
            <a:off x="531341" y="6450227"/>
            <a:ext cx="593124" cy="2718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2C7EC9A4-96AA-4B4E-BF39-A97FB4FA4B9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P Computing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EE9B4738-9AB7-BC43-A638-A57F5A67DA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8C277D2B-E2B8-1F46-B595-CD37D3359E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CA86FA-A75B-4B6C-912A-D4FCAD802F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81918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>
            <a:extLst>
              <a:ext uri="{FF2B5EF4-FFF2-40B4-BE49-F238E27FC236}">
                <a16:creationId xmlns:a16="http://schemas.microsoft.com/office/drawing/2014/main" id="{D603871B-CF74-B097-A49B-B53E2FCFA6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029ABFC-F977-DD40-89FE-DB9901F11B19}"/>
              </a:ext>
            </a:extLst>
          </p:cNvPr>
          <p:cNvSpPr/>
          <p:nvPr/>
        </p:nvSpPr>
        <p:spPr>
          <a:xfrm>
            <a:off x="531341" y="6462584"/>
            <a:ext cx="605481" cy="2471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26EEB686-7182-B149-926A-02E4CBA5DD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P Computing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45114D61-2AFE-5440-86D7-19DE0555B0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9320875D-6790-C640-9891-806F685333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CA86FA-A75B-4B6C-912A-D4FCAD802F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69136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3185A96D-4840-6045-9284-B0D39C77D1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A581241C-9348-4648-AB63-8679EFA81D1B}"/>
              </a:ext>
            </a:extLst>
          </p:cNvPr>
          <p:cNvSpPr/>
          <p:nvPr/>
        </p:nvSpPr>
        <p:spPr>
          <a:xfrm>
            <a:off x="3052119" y="1359243"/>
            <a:ext cx="1495167" cy="107503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841DF06-DEEB-C542-9792-8E9FE87390ED}"/>
              </a:ext>
            </a:extLst>
          </p:cNvPr>
          <p:cNvSpPr/>
          <p:nvPr/>
        </p:nvSpPr>
        <p:spPr>
          <a:xfrm>
            <a:off x="1556951" y="2353962"/>
            <a:ext cx="1495167" cy="107503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F8A8D33-029E-AE4D-BA01-BF3069A9B374}"/>
              </a:ext>
            </a:extLst>
          </p:cNvPr>
          <p:cNvSpPr/>
          <p:nvPr/>
        </p:nvSpPr>
        <p:spPr>
          <a:xfrm>
            <a:off x="3052118" y="4423719"/>
            <a:ext cx="1495167" cy="107503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F06518E-2C05-5E46-B52C-2E779F3B71DA}"/>
              </a:ext>
            </a:extLst>
          </p:cNvPr>
          <p:cNvSpPr/>
          <p:nvPr/>
        </p:nvSpPr>
        <p:spPr>
          <a:xfrm>
            <a:off x="3052118" y="5321643"/>
            <a:ext cx="1495167" cy="107503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0313480-6CF5-0E49-8352-5EA732126B6C}"/>
              </a:ext>
            </a:extLst>
          </p:cNvPr>
          <p:cNvSpPr/>
          <p:nvPr/>
        </p:nvSpPr>
        <p:spPr>
          <a:xfrm>
            <a:off x="5782963" y="1217012"/>
            <a:ext cx="889686" cy="532190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68FDBC9-DB90-8242-A922-9611324D0972}"/>
              </a:ext>
            </a:extLst>
          </p:cNvPr>
          <p:cNvSpPr/>
          <p:nvPr/>
        </p:nvSpPr>
        <p:spPr>
          <a:xfrm>
            <a:off x="531341" y="6396681"/>
            <a:ext cx="556054" cy="3253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936D9490-1F82-604A-8FF8-5B1C716BB09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P Computing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9CCB4420-F4CA-714A-829B-554030ED4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Slide Number Placeholder 6">
            <a:extLst>
              <a:ext uri="{FF2B5EF4-FFF2-40B4-BE49-F238E27FC236}">
                <a16:creationId xmlns:a16="http://schemas.microsoft.com/office/drawing/2014/main" id="{D8BB379E-74A3-A745-874C-05F0B371D2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CA86FA-A75B-4B6C-912A-D4FCAD802F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40668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>
            <a:extLst>
              <a:ext uri="{FF2B5EF4-FFF2-40B4-BE49-F238E27FC236}">
                <a16:creationId xmlns:a16="http://schemas.microsoft.com/office/drawing/2014/main" id="{4D1CF27A-9FAA-B9CB-4EF1-36C15B50FA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E6F5F53C-4E85-234A-829A-47D53A465127}"/>
              </a:ext>
            </a:extLst>
          </p:cNvPr>
          <p:cNvSpPr/>
          <p:nvPr/>
        </p:nvSpPr>
        <p:spPr>
          <a:xfrm>
            <a:off x="506627" y="6437870"/>
            <a:ext cx="667265" cy="2965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476E85A-B48C-2C46-BF2E-7E1BE72695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P Computing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5A3D4B95-F057-BC40-BDE0-1958F964F3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96449640-C30D-2947-83F5-9DF9107C2A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CA86FA-A75B-4B6C-912A-D4FCAD802F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01788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3">
            <a:extLst>
              <a:ext uri="{FF2B5EF4-FFF2-40B4-BE49-F238E27FC236}">
                <a16:creationId xmlns:a16="http://schemas.microsoft.com/office/drawing/2014/main" id="{A2D89F10-73FE-E34D-B4C3-B6A52E05AEAF}"/>
              </a:ext>
            </a:extLst>
          </p:cNvPr>
          <p:cNvSpPr txBox="1">
            <a:spLocks/>
          </p:cNvSpPr>
          <p:nvPr/>
        </p:nvSpPr>
        <p:spPr>
          <a:xfrm>
            <a:off x="304801" y="521640"/>
            <a:ext cx="3413759" cy="494360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1528BC"/>
                </a:solidFill>
                <a:effectLst/>
                <a:uLnTx/>
                <a:uFillTx/>
                <a:latin typeface="Titillium Web" pitchFamily="2" charset="77"/>
                <a:ea typeface="+mj-ea"/>
                <a:cs typeface="+mj-cs"/>
              </a:rPr>
              <a:t>ICSC Budge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943F656-CDC2-B749-96AC-351EDE83B221}"/>
              </a:ext>
            </a:extLst>
          </p:cNvPr>
          <p:cNvSpPr txBox="1"/>
          <p:nvPr/>
        </p:nvSpPr>
        <p:spPr>
          <a:xfrm>
            <a:off x="5761185" y="4962744"/>
            <a:ext cx="5897415" cy="31008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 marL="356616" marR="0" lvl="0" indent="-356616" algn="l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ts val="600"/>
              </a:spcAft>
              <a:buClr>
                <a:srgbClr val="1C7FFF"/>
              </a:buClr>
              <a:buSzPct val="100000"/>
              <a:buFont typeface="Arial" pitchFamily="34" charset="0"/>
              <a:buChar char="►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528BC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Budget in M€ to be spent in the period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528BC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2022-25</a:t>
            </a:r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C28D6649-AD25-8343-8049-EF0EEF2DB0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60000" y="180000"/>
            <a:ext cx="720000" cy="790986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21774756-89D5-4C46-AE5E-DB4931F792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4264" y="1998135"/>
            <a:ext cx="317137" cy="2336800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8F2FDE8F-0F11-304C-AFA1-C60B97DCD2A3}"/>
              </a:ext>
            </a:extLst>
          </p:cNvPr>
          <p:cNvSpPr txBox="1"/>
          <p:nvPr/>
        </p:nvSpPr>
        <p:spPr>
          <a:xfrm>
            <a:off x="8966200" y="1904749"/>
            <a:ext cx="2129109" cy="2550698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INFRASTRUCTURES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STAFF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OTHER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OPEN CALL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PHD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INDIRECT COSTS</a:t>
            </a:r>
          </a:p>
        </p:txBody>
      </p:sp>
      <p:grpSp>
        <p:nvGrpSpPr>
          <p:cNvPr id="9" name="Gruppo 8">
            <a:extLst>
              <a:ext uri="{FF2B5EF4-FFF2-40B4-BE49-F238E27FC236}">
                <a16:creationId xmlns:a16="http://schemas.microsoft.com/office/drawing/2014/main" id="{6DC37EB5-B20D-494B-A5C2-F0B5540B278D}"/>
              </a:ext>
            </a:extLst>
          </p:cNvPr>
          <p:cNvGrpSpPr/>
          <p:nvPr/>
        </p:nvGrpSpPr>
        <p:grpSpPr>
          <a:xfrm>
            <a:off x="-130626" y="843148"/>
            <a:ext cx="8253656" cy="6014852"/>
            <a:chOff x="-261256" y="570015"/>
            <a:chExt cx="8628453" cy="6287985"/>
          </a:xfrm>
        </p:grpSpPr>
        <p:pic>
          <p:nvPicPr>
            <p:cNvPr id="3" name="Immagine 2">
              <a:extLst>
                <a:ext uri="{FF2B5EF4-FFF2-40B4-BE49-F238E27FC236}">
                  <a16:creationId xmlns:a16="http://schemas.microsoft.com/office/drawing/2014/main" id="{C2ECDC13-B2D1-ED4A-B2D1-129B53CE5C1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-261256" y="570015"/>
              <a:ext cx="8628453" cy="6287985"/>
            </a:xfrm>
            <a:prstGeom prst="rect">
              <a:avLst/>
            </a:prstGeom>
          </p:spPr>
        </p:pic>
        <p:sp>
          <p:nvSpPr>
            <p:cNvPr id="10" name="CasellaDiTesto 9">
              <a:extLst>
                <a:ext uri="{FF2B5EF4-FFF2-40B4-BE49-F238E27FC236}">
                  <a16:creationId xmlns:a16="http://schemas.microsoft.com/office/drawing/2014/main" id="{08C4985E-4E34-3948-AA0E-BB82472CE5FD}"/>
                </a:ext>
              </a:extLst>
            </p:cNvPr>
            <p:cNvSpPr txBox="1"/>
            <p:nvPr/>
          </p:nvSpPr>
          <p:spPr>
            <a:xfrm>
              <a:off x="1397000" y="2785533"/>
              <a:ext cx="1208985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139.1</a:t>
              </a:r>
            </a:p>
          </p:txBody>
        </p:sp>
        <p:sp>
          <p:nvSpPr>
            <p:cNvPr id="14" name="CasellaDiTesto 13">
              <a:extLst>
                <a:ext uri="{FF2B5EF4-FFF2-40B4-BE49-F238E27FC236}">
                  <a16:creationId xmlns:a16="http://schemas.microsoft.com/office/drawing/2014/main" id="{46C322A2-7C2D-2441-8207-1F715454BCD2}"/>
                </a:ext>
              </a:extLst>
            </p:cNvPr>
            <p:cNvSpPr txBox="1"/>
            <p:nvPr/>
          </p:nvSpPr>
          <p:spPr>
            <a:xfrm>
              <a:off x="4114800" y="2057400"/>
              <a:ext cx="643125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88</a:t>
              </a:r>
            </a:p>
          </p:txBody>
        </p:sp>
        <p:sp>
          <p:nvSpPr>
            <p:cNvPr id="15" name="CasellaDiTesto 14">
              <a:extLst>
                <a:ext uri="{FF2B5EF4-FFF2-40B4-BE49-F238E27FC236}">
                  <a16:creationId xmlns:a16="http://schemas.microsoft.com/office/drawing/2014/main" id="{4A51FF7A-5934-BE45-89A5-FB3ACA2DC696}"/>
                </a:ext>
              </a:extLst>
            </p:cNvPr>
            <p:cNvSpPr txBox="1"/>
            <p:nvPr/>
          </p:nvSpPr>
          <p:spPr>
            <a:xfrm>
              <a:off x="5503332" y="2658533"/>
              <a:ext cx="979755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31.8</a:t>
              </a:r>
            </a:p>
          </p:txBody>
        </p:sp>
        <p:sp>
          <p:nvSpPr>
            <p:cNvPr id="16" name="CasellaDiTesto 15">
              <a:extLst>
                <a:ext uri="{FF2B5EF4-FFF2-40B4-BE49-F238E27FC236}">
                  <a16:creationId xmlns:a16="http://schemas.microsoft.com/office/drawing/2014/main" id="{D8FDE98D-4FE0-3A49-A1C1-BFCAF9C72D34}"/>
                </a:ext>
              </a:extLst>
            </p:cNvPr>
            <p:cNvSpPr txBox="1"/>
            <p:nvPr/>
          </p:nvSpPr>
          <p:spPr>
            <a:xfrm>
              <a:off x="6222999" y="3285066"/>
              <a:ext cx="643125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32</a:t>
              </a:r>
            </a:p>
          </p:txBody>
        </p:sp>
        <p:sp>
          <p:nvSpPr>
            <p:cNvPr id="17" name="CasellaDiTesto 16">
              <a:extLst>
                <a:ext uri="{FF2B5EF4-FFF2-40B4-BE49-F238E27FC236}">
                  <a16:creationId xmlns:a16="http://schemas.microsoft.com/office/drawing/2014/main" id="{C4B8B229-202B-7549-8015-76C59895C2BE}"/>
                </a:ext>
              </a:extLst>
            </p:cNvPr>
            <p:cNvSpPr txBox="1"/>
            <p:nvPr/>
          </p:nvSpPr>
          <p:spPr>
            <a:xfrm>
              <a:off x="6316132" y="3903132"/>
              <a:ext cx="827471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15.9</a:t>
              </a:r>
            </a:p>
          </p:txBody>
        </p:sp>
        <p:sp>
          <p:nvSpPr>
            <p:cNvPr id="18" name="CasellaDiTesto 17">
              <a:extLst>
                <a:ext uri="{FF2B5EF4-FFF2-40B4-BE49-F238E27FC236}">
                  <a16:creationId xmlns:a16="http://schemas.microsoft.com/office/drawing/2014/main" id="{9E9916F5-186B-FD46-B84B-DE993060F82D}"/>
                </a:ext>
              </a:extLst>
            </p:cNvPr>
            <p:cNvSpPr txBox="1"/>
            <p:nvPr/>
          </p:nvSpPr>
          <p:spPr>
            <a:xfrm>
              <a:off x="6460064" y="4351865"/>
              <a:ext cx="830677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13.2</a:t>
              </a:r>
            </a:p>
          </p:txBody>
        </p:sp>
        <p:sp>
          <p:nvSpPr>
            <p:cNvPr id="19" name="CasellaDiTesto 18">
              <a:extLst>
                <a:ext uri="{FF2B5EF4-FFF2-40B4-BE49-F238E27FC236}">
                  <a16:creationId xmlns:a16="http://schemas.microsoft.com/office/drawing/2014/main" id="{07E8A2AA-1571-794A-AF7F-2E1AD740F653}"/>
                </a:ext>
              </a:extLst>
            </p:cNvPr>
            <p:cNvSpPr txBox="1"/>
            <p:nvPr/>
          </p:nvSpPr>
          <p:spPr>
            <a:xfrm>
              <a:off x="2748926" y="3598333"/>
              <a:ext cx="2403222" cy="19697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4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32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4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Meuro</a:t>
              </a:r>
              <a:endPara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41% to the Sout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0833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>
            <a:extLst>
              <a:ext uri="{FF2B5EF4-FFF2-40B4-BE49-F238E27FC236}">
                <a16:creationId xmlns:a16="http://schemas.microsoft.com/office/drawing/2014/main" id="{2979B6A2-69DA-88FF-3190-EE67F3985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CSC Infrastructure</a:t>
            </a:r>
          </a:p>
        </p:txBody>
      </p:sp>
      <p:sp>
        <p:nvSpPr>
          <p:cNvPr id="5" name="Segnaposto contenuto 4">
            <a:extLst>
              <a:ext uri="{FF2B5EF4-FFF2-40B4-BE49-F238E27FC236}">
                <a16:creationId xmlns:a16="http://schemas.microsoft.com/office/drawing/2014/main" id="{6608C895-87A0-5C68-CB8E-F4C9EFC692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9408" y="1877105"/>
            <a:ext cx="4495725" cy="4117294"/>
          </a:xfrm>
        </p:spPr>
        <p:txBody>
          <a:bodyPr/>
          <a:lstStyle/>
          <a:p>
            <a:r>
              <a:rPr lang="en-GB" dirty="0"/>
              <a:t>117 M€ in spoke 0</a:t>
            </a:r>
          </a:p>
          <a:p>
            <a:pPr marL="457200" lvl="1" indent="0">
              <a:buNone/>
            </a:pPr>
            <a:r>
              <a:rPr lang="en-GB" dirty="0"/>
              <a:t>CINECA, INFN, GARR</a:t>
            </a:r>
          </a:p>
          <a:p>
            <a:r>
              <a:rPr lang="en-GB" dirty="0"/>
              <a:t>22 M€ more in other spokes</a:t>
            </a:r>
          </a:p>
          <a:p>
            <a:r>
              <a:rPr lang="en-GB" dirty="0"/>
              <a:t>15 M€ for personnel dedicated to the management of the infrastructure</a:t>
            </a:r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6" name="object 5">
            <a:extLst>
              <a:ext uri="{FF2B5EF4-FFF2-40B4-BE49-F238E27FC236}">
                <a16:creationId xmlns:a16="http://schemas.microsoft.com/office/drawing/2014/main" id="{5D89EF5C-C48C-97DF-3F41-BCDB12118EEA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925133" y="0"/>
            <a:ext cx="6266867" cy="6858000"/>
          </a:xfrm>
          <a:prstGeom prst="rect">
            <a:avLst/>
          </a:prstGeom>
        </p:spPr>
      </p:pic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F5F7EA55-175A-8149-9EDB-986E6F0FEE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P Computing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337BD233-F29A-8F4C-B8F6-4A90E051AC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DC932C26-D33F-F44C-8CF1-DD01E3BD3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CA86FA-A75B-4B6C-912A-D4FCAD802F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71937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169134D-FC88-5E49-AF55-09F44AB4C3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Objectives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EE1D5FE-8378-DD45-894F-6DF39CD76E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9408" y="1877105"/>
            <a:ext cx="9301654" cy="447924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it-IT" sz="2400" dirty="0"/>
              <a:t>The project has been designed to be complementary to ICSC. It is meant to network, integrate and upgrade the GARR-X, PRACE-Italy and HPC-BD-AI Research Infrastructures with three main objectives:</a:t>
            </a:r>
          </a:p>
          <a:p>
            <a:pPr marL="457200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GB" sz="2400" dirty="0">
                <a:solidFill>
                  <a:srgbClr val="0432FF"/>
                </a:solidFill>
              </a:rPr>
              <a:t>Enable the offer of uniform Terabit-per-second data transfer </a:t>
            </a:r>
            <a:r>
              <a:rPr lang="en-GB" sz="2400" dirty="0"/>
              <a:t>rates and advanced telecommunication services on a geographical scale across the national territory, specifically </a:t>
            </a:r>
            <a:r>
              <a:rPr lang="en-GB" sz="2400" dirty="0">
                <a:solidFill>
                  <a:srgbClr val="0432FF"/>
                </a:solidFill>
              </a:rPr>
              <a:t>focusing on under-connected regions in Southern and Insular It</a:t>
            </a:r>
            <a:r>
              <a:rPr lang="en-GB" sz="2400" dirty="0"/>
              <a:t>aly.</a:t>
            </a:r>
          </a:p>
          <a:p>
            <a:pPr marL="457200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GB" sz="2400" dirty="0">
                <a:solidFill>
                  <a:srgbClr val="0432FF"/>
                </a:solidFill>
              </a:rPr>
              <a:t>Innovate</a:t>
            </a:r>
            <a:r>
              <a:rPr lang="en-GB" sz="2400" dirty="0"/>
              <a:t> the structure of the </a:t>
            </a:r>
            <a:r>
              <a:rPr lang="en-GB" sz="2400" dirty="0">
                <a:solidFill>
                  <a:srgbClr val="0432FF"/>
                </a:solidFill>
              </a:rPr>
              <a:t>central HPC node of PRACE-Italy</a:t>
            </a:r>
            <a:r>
              <a:rPr lang="en-GB" sz="2400" dirty="0"/>
              <a:t>, updating to the new Tier-1 level.</a:t>
            </a:r>
          </a:p>
          <a:p>
            <a:pPr marL="457200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GB" sz="2400" dirty="0">
                <a:solidFill>
                  <a:srgbClr val="0432FF"/>
                </a:solidFill>
              </a:rPr>
              <a:t>Innovate the set of HPC services available to researchers, going beyond the centralized computing system model.</a:t>
            </a:r>
          </a:p>
          <a:p>
            <a:pPr marL="0" indent="0">
              <a:buNone/>
            </a:pPr>
            <a:endParaRPr lang="it-IT" sz="2400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44A2E6B1-50B3-CA42-9743-8D8B40556AE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P Computing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09B4CFFC-A380-864B-9638-A2EDBEF2D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B34456A9-5E89-A844-A518-BB4D7A6EE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CA86FA-A75B-4B6C-912A-D4FCAD802F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62020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97FAD8CA-D3C1-3746-A4ED-F3272861CF7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6480" y="12920"/>
            <a:ext cx="5008880" cy="655708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13EC544-43E6-5940-881F-DC3313D326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08000"/>
            <a:ext cx="12192000" cy="460502"/>
          </a:xfrm>
        </p:spPr>
        <p:txBody>
          <a:bodyPr/>
          <a:lstStyle/>
          <a:p>
            <a:r>
              <a:rPr lang="en-IT"/>
              <a:t>TeRABIT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7C305A3-F781-FF42-8E57-2F962CBE73F0}"/>
              </a:ext>
            </a:extLst>
          </p:cNvPr>
          <p:cNvGrpSpPr/>
          <p:nvPr/>
        </p:nvGrpSpPr>
        <p:grpSpPr>
          <a:xfrm>
            <a:off x="5759948" y="818634"/>
            <a:ext cx="6111128" cy="4114344"/>
            <a:chOff x="5759948" y="818634"/>
            <a:chExt cx="6111128" cy="4114344"/>
          </a:xfrm>
        </p:grpSpPr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F6497E10-7F2F-2F4F-BA44-DCEEFF79EEB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645400" y="1003300"/>
              <a:ext cx="2413000" cy="0"/>
            </a:xfrm>
            <a:prstGeom prst="straightConnector1">
              <a:avLst/>
            </a:prstGeom>
            <a:ln>
              <a:tailEnd type="stealth" w="lg" len="lg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7DE1363-CAF8-7345-9F65-D99C12D0F8D1}"/>
                </a:ext>
              </a:extLst>
            </p:cNvPr>
            <p:cNvSpPr txBox="1"/>
            <p:nvPr/>
          </p:nvSpPr>
          <p:spPr>
            <a:xfrm>
              <a:off x="10220574" y="818634"/>
              <a:ext cx="126496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GS Trieste</a:t>
              </a:r>
            </a:p>
          </p:txBody>
        </p: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1F80BC12-39DF-914E-9DB5-491731F0EC0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794500" y="1701324"/>
              <a:ext cx="2413000" cy="0"/>
            </a:xfrm>
            <a:prstGeom prst="straightConnector1">
              <a:avLst/>
            </a:prstGeom>
            <a:ln>
              <a:tailEnd type="stealth" w="lg" len="lg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EC19A4C-6763-A345-943F-6B1BD42C63B4}"/>
                </a:ext>
              </a:extLst>
            </p:cNvPr>
            <p:cNvSpPr txBox="1"/>
            <p:nvPr/>
          </p:nvSpPr>
          <p:spPr>
            <a:xfrm>
              <a:off x="9557827" y="1516658"/>
              <a:ext cx="218521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FN-CNAF (Bologna)</a:t>
              </a:r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CDB2B068-AF79-C241-A811-380E31A7DE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095742" y="3752414"/>
              <a:ext cx="861058" cy="0"/>
            </a:xfrm>
            <a:prstGeom prst="straightConnector1">
              <a:avLst/>
            </a:prstGeom>
            <a:ln>
              <a:tailEnd type="stealth" w="lg" len="lg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7BB9A608-4859-304F-8411-49B29D184DB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759948" y="4749324"/>
              <a:ext cx="4236719" cy="0"/>
            </a:xfrm>
            <a:prstGeom prst="straightConnector1">
              <a:avLst/>
            </a:prstGeom>
            <a:ln>
              <a:tailEnd type="stealth" w="lg" len="lg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29383AD-C783-9344-8C46-AFB349EEA6A3}"/>
                </a:ext>
              </a:extLst>
            </p:cNvPr>
            <p:cNvSpPr txBox="1"/>
            <p:nvPr/>
          </p:nvSpPr>
          <p:spPr>
            <a:xfrm>
              <a:off x="9996667" y="3567748"/>
              <a:ext cx="148886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FN Sez. Bari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F2A19E8-2D29-F445-8142-17CBC86B3F27}"/>
                </a:ext>
              </a:extLst>
            </p:cNvPr>
            <p:cNvSpPr txBox="1"/>
            <p:nvPr/>
          </p:nvSpPr>
          <p:spPr>
            <a:xfrm>
              <a:off x="10058400" y="4563646"/>
              <a:ext cx="181267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T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FN Sez. Cagliari</a:t>
              </a: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BE5CE9D5-5C83-904F-A750-4476AE7A41B7}"/>
              </a:ext>
            </a:extLst>
          </p:cNvPr>
          <p:cNvSpPr txBox="1"/>
          <p:nvPr/>
        </p:nvSpPr>
        <p:spPr>
          <a:xfrm>
            <a:off x="405839" y="818634"/>
            <a:ext cx="4384988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</a:t>
            </a:r>
            <a:r>
              <a:rPr kumimoji="0" lang="en-IT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ponents : INFN and OG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T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ord. scientifico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T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uro Campanella INFN/GAR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T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.I. OGS : Stefano Salon</a:t>
            </a:r>
            <a:br>
              <a:rPr kumimoji="0" lang="en-IT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en-IT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T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RR e CINECA non sono partner perché non sono organi vigilati MUR, ma esecutori unici per rete e Tier-1 HPC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T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anziamento totale 41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T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.1 PM per 30 mesi INFN a termine</a:t>
            </a:r>
            <a:br>
              <a:rPr kumimoji="0" lang="en-IT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IT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.9 PM per 30 mesi OGS a termi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T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T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Inizio:	1 gennaio 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</a:t>
            </a:r>
            <a:r>
              <a:rPr kumimoji="0" lang="en-IT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rata:	 	30 mesi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3E5363C-9753-654D-BCDF-D7523FB2C4F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220F05-8461-BF49-AB36-DF627509AE3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193EB6-7997-46F5-9BC5-814C63D672B3}" type="slidenum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56985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3272FFA-6648-D84E-997A-6B6B6505DE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1407" y="0"/>
            <a:ext cx="9709185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C17701D-1324-0946-9369-037C4803722C}"/>
              </a:ext>
            </a:extLst>
          </p:cNvPr>
          <p:cNvSpPr txBox="1"/>
          <p:nvPr/>
        </p:nvSpPr>
        <p:spPr>
          <a:xfrm>
            <a:off x="2106380" y="2026507"/>
            <a:ext cx="3194669" cy="156966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IT" sz="2400"/>
              <a:t>700 kHS06 CPU</a:t>
            </a:r>
          </a:p>
          <a:p>
            <a:r>
              <a:rPr lang="en-IT" sz="2400"/>
              <a:t>  60 PB disk space</a:t>
            </a:r>
          </a:p>
          <a:p>
            <a:r>
              <a:rPr lang="en-IT" sz="2400"/>
              <a:t>200 PB tape library</a:t>
            </a:r>
          </a:p>
          <a:p>
            <a:endParaRPr lang="en-IT" sz="24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2C49DB8-847F-B847-B3AC-A2C1AC25936F}"/>
              </a:ext>
            </a:extLst>
          </p:cNvPr>
          <p:cNvSpPr txBox="1"/>
          <p:nvPr/>
        </p:nvSpPr>
        <p:spPr>
          <a:xfrm>
            <a:off x="2106379" y="4077727"/>
            <a:ext cx="3194669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IT" sz="2400"/>
              <a:t>500 kHS06 CPU</a:t>
            </a:r>
          </a:p>
          <a:p>
            <a:r>
              <a:rPr lang="en-IT" sz="2400"/>
              <a:t>  40 PB disk space</a:t>
            </a:r>
          </a:p>
          <a:p>
            <a:endParaRPr lang="en-IT" sz="2400"/>
          </a:p>
        </p:txBody>
      </p:sp>
    </p:spTree>
    <p:extLst>
      <p:ext uri="{BB962C8B-B14F-4D97-AF65-F5344CB8AC3E}">
        <p14:creationId xmlns:p14="http://schemas.microsoft.com/office/powerpoint/2010/main" val="11043158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4"/>
          <p:cNvSpPr txBox="1">
            <a:spLocks noGrp="1"/>
          </p:cNvSpPr>
          <p:nvPr>
            <p:ph type="title"/>
          </p:nvPr>
        </p:nvSpPr>
        <p:spPr>
          <a:xfrm>
            <a:off x="415600" y="91100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pPr>
              <a:buSzPct val="39285"/>
            </a:pPr>
            <a:r>
              <a:rPr lang="en"/>
              <a:t>PE 1: “Artificial Intelligence: foundational aspects”</a:t>
            </a:r>
            <a:endParaRPr/>
          </a:p>
          <a:p>
            <a:pPr>
              <a:buSzPct val="39285"/>
            </a:pPr>
            <a:endParaRPr/>
          </a:p>
          <a:p>
            <a:endParaRPr/>
          </a:p>
        </p:txBody>
      </p:sp>
      <p:pic>
        <p:nvPicPr>
          <p:cNvPr id="63" name="Google Shape;63;p1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352497" y="709767"/>
            <a:ext cx="5747071" cy="4555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" name="Google Shape;64;p1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070347" y="5218622"/>
            <a:ext cx="2322467" cy="1639377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73693E9D-1857-9447-89F5-67C283D4EEED}"/>
              </a:ext>
            </a:extLst>
          </p:cNvPr>
          <p:cNvSpPr txBox="1">
            <a:spLocks/>
          </p:cNvSpPr>
          <p:nvPr/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NRR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ooter Placeholder 5">
            <a:extLst>
              <a:ext uri="{FF2B5EF4-FFF2-40B4-BE49-F238E27FC236}">
                <a16:creationId xmlns:a16="http://schemas.microsoft.com/office/drawing/2014/main" id="{6F911A41-E369-4A46-B3BE-1E79BAB936D5}"/>
              </a:ext>
            </a:extLst>
          </p:cNvPr>
          <p:cNvSpPr txBox="1">
            <a:spLocks/>
          </p:cNvSpPr>
          <p:nvPr/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ego Bettoni</a:t>
            </a:r>
          </a:p>
        </p:txBody>
      </p:sp>
      <p:sp>
        <p:nvSpPr>
          <p:cNvPr id="13" name="Slide Number Placeholder 6">
            <a:extLst>
              <a:ext uri="{FF2B5EF4-FFF2-40B4-BE49-F238E27FC236}">
                <a16:creationId xmlns:a16="http://schemas.microsoft.com/office/drawing/2014/main" id="{8DE8BE89-8C78-AE43-AB45-46044B99A686}"/>
              </a:ext>
            </a:extLst>
          </p:cNvPr>
          <p:cNvSpPr txBox="1">
            <a:spLocks/>
          </p:cNvSpPr>
          <p:nvPr/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CA86FA-A75B-4B6C-912A-D4FCAD802F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Google Shape;69;p15">
            <a:extLst>
              <a:ext uri="{FF2B5EF4-FFF2-40B4-BE49-F238E27FC236}">
                <a16:creationId xmlns:a16="http://schemas.microsoft.com/office/drawing/2014/main" id="{BE90AA44-7554-D34D-8C42-3033ED56DD4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83157" y="1801152"/>
            <a:ext cx="6318400" cy="4555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pPr marL="152396" indent="0">
              <a:buNone/>
            </a:pPr>
            <a:endParaRPr/>
          </a:p>
          <a:p>
            <a:pPr>
              <a:buClr>
                <a:srgbClr val="0000FF"/>
              </a:buClr>
            </a:pPr>
            <a:r>
              <a:rPr lang="en">
                <a:solidFill>
                  <a:srgbClr val="0000FF"/>
                </a:solidFill>
              </a:rPr>
              <a:t>Spoke 6 (lead UniBA):  AI for BigData, reference use cases </a:t>
            </a:r>
            <a:r>
              <a:rPr lang="en" b="1">
                <a:solidFill>
                  <a:srgbClr val="0000FF"/>
                </a:solidFill>
              </a:rPr>
              <a:t>HEP data analysis</a:t>
            </a:r>
            <a:endParaRPr b="1">
              <a:solidFill>
                <a:srgbClr val="0000FF"/>
              </a:solidFill>
            </a:endParaRPr>
          </a:p>
          <a:p>
            <a:pPr lvl="1">
              <a:buClr>
                <a:srgbClr val="9900FF"/>
              </a:buClr>
            </a:pPr>
            <a:r>
              <a:rPr lang="en">
                <a:solidFill>
                  <a:srgbClr val="9900FF"/>
                </a:solidFill>
              </a:rPr>
              <a:t>Elia (BA), Antonacci (BA), Doria (NAP), Battaglieri (GE)</a:t>
            </a:r>
            <a:endParaRPr>
              <a:solidFill>
                <a:srgbClr val="9900FF"/>
              </a:solidFill>
            </a:endParaRPr>
          </a:p>
          <a:p>
            <a:pPr>
              <a:buClr>
                <a:srgbClr val="0000FF"/>
              </a:buClr>
            </a:pPr>
            <a:r>
              <a:rPr lang="en">
                <a:solidFill>
                  <a:srgbClr val="0000FF"/>
                </a:solidFill>
              </a:rPr>
              <a:t>Spoke 8 (lead UniBO): </a:t>
            </a:r>
            <a:r>
              <a:rPr lang="en" b="1">
                <a:solidFill>
                  <a:srgbClr val="0000FF"/>
                </a:solidFill>
              </a:rPr>
              <a:t>xplainability in biomedical physics</a:t>
            </a:r>
            <a:endParaRPr b="1">
              <a:solidFill>
                <a:srgbClr val="0000FF"/>
              </a:solidFill>
            </a:endParaRPr>
          </a:p>
          <a:p>
            <a:pPr lvl="1">
              <a:buClr>
                <a:srgbClr val="9900FF"/>
              </a:buClr>
            </a:pPr>
            <a:r>
              <a:rPr lang="en">
                <a:solidFill>
                  <a:srgbClr val="9900FF"/>
                </a:solidFill>
              </a:rPr>
              <a:t>Retico (PI), Chincarini (GE)</a:t>
            </a:r>
            <a:endParaRPr>
              <a:solidFill>
                <a:srgbClr val="9900FF"/>
              </a:solidFill>
            </a:endParaRPr>
          </a:p>
          <a:p>
            <a:pPr>
              <a:buClr>
                <a:srgbClr val="0000FF"/>
              </a:buClr>
            </a:pPr>
            <a:r>
              <a:rPr lang="en">
                <a:solidFill>
                  <a:srgbClr val="0000FF"/>
                </a:solidFill>
              </a:rPr>
              <a:t>Spoke 10 (lead UniCT): </a:t>
            </a:r>
            <a:r>
              <a:rPr lang="en" b="1">
                <a:solidFill>
                  <a:srgbClr val="0000FF"/>
                </a:solidFill>
              </a:rPr>
              <a:t>brain inspired systems</a:t>
            </a:r>
            <a:r>
              <a:rPr lang="en">
                <a:solidFill>
                  <a:srgbClr val="0000FF"/>
                </a:solidFill>
              </a:rPr>
              <a:t>, (connection with Human Brain Project)</a:t>
            </a:r>
            <a:endParaRPr>
              <a:solidFill>
                <a:srgbClr val="0000FF"/>
              </a:solidFill>
            </a:endParaRPr>
          </a:p>
          <a:p>
            <a:pPr lvl="1">
              <a:buClr>
                <a:srgbClr val="9900FF"/>
              </a:buClr>
            </a:pPr>
            <a:r>
              <a:rPr lang="en">
                <a:solidFill>
                  <a:srgbClr val="9900FF"/>
                </a:solidFill>
              </a:rPr>
              <a:t>Vicini (RM1), Paolucci (RM1)</a:t>
            </a:r>
            <a:endParaRPr>
              <a:solidFill>
                <a:srgbClr val="9900FF"/>
              </a:solidFill>
            </a:endParaRPr>
          </a:p>
          <a:p>
            <a:pPr marL="0" indent="0">
              <a:spcBef>
                <a:spcPts val="1600"/>
              </a:spcBef>
              <a:spcAft>
                <a:spcPts val="1600"/>
              </a:spcAft>
              <a:buNone/>
            </a:pPr>
            <a:r>
              <a:rPr lang="en"/>
              <a:t>Total Budget 115 MEur (1,62 MEur for INFN)</a:t>
            </a:r>
            <a:endParaRPr/>
          </a:p>
        </p:txBody>
      </p:sp>
      <p:sp>
        <p:nvSpPr>
          <p:cNvPr id="15" name="Google Shape;70;p15">
            <a:extLst>
              <a:ext uri="{FF2B5EF4-FFF2-40B4-BE49-F238E27FC236}">
                <a16:creationId xmlns:a16="http://schemas.microsoft.com/office/drawing/2014/main" id="{31ECE67D-037D-8C4E-B71B-7A713CE99922}"/>
              </a:ext>
            </a:extLst>
          </p:cNvPr>
          <p:cNvSpPr txBox="1">
            <a:spLocks/>
          </p:cNvSpPr>
          <p:nvPr/>
        </p:nvSpPr>
        <p:spPr>
          <a:xfrm>
            <a:off x="399457" y="930685"/>
            <a:ext cx="236467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tabLst/>
              <a:defRPr/>
            </a:pPr>
            <a:r>
              <a:rPr kumimoji="0" lang="en-GB" sz="2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FN in FAI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0409AD2-BE2C-B649-AB05-F5F3A996324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333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" sz="1333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82532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4448800-23FD-0D4C-865E-08732E36654F}"/>
              </a:ext>
            </a:extLst>
          </p:cNvPr>
          <p:cNvSpPr txBox="1"/>
          <p:nvPr/>
        </p:nvSpPr>
        <p:spPr>
          <a:xfrm>
            <a:off x="4403986" y="3429000"/>
            <a:ext cx="2680349" cy="76944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28575">
            <a:solidFill>
              <a:schemeClr val="bg2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T" sz="4400" b="0" i="0" u="none" strike="noStrike" kern="1200" cap="none" spc="0" normalizeH="0" baseline="0" noProof="0">
                <a:ln>
                  <a:noFill/>
                </a:ln>
                <a:solidFill>
                  <a:srgbClr val="ACCBF9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ank you 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A26D2B1-1982-4C4E-9746-0A5DD0666F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P Computing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3E005764-6C0A-DE4B-9151-BA2229AE5E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48952D73-9107-5846-8756-40843E9CA0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CA86FA-A75B-4B6C-912A-D4FCAD802F6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60144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F8685E2-6068-7D45-B4DD-AD75184471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1407" y="0"/>
            <a:ext cx="97091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3728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E683F90-50E1-1E4A-A027-82CA93DF3F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1407" y="0"/>
            <a:ext cx="97091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3473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8FFDCBB7-CC8E-364D-B28F-422ADF9C67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FE041B5-CE7A-9D4C-AD17-66FB37CD70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P Computing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B0C6C8-52B4-D244-9A18-82DEC4AC6E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DB1646-3B1B-1C47-9497-CA29C17C36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5D298C-7C67-F34C-A9DE-4238970C2353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srgbClr val="4A66A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srgbClr val="4A66A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85687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6269435-93BA-C349-8E36-EADB8314CF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1407" y="0"/>
            <a:ext cx="97091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0975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A00DD69-4985-504D-BA89-86CB1E01B3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1407" y="0"/>
            <a:ext cx="970918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523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>
            <a:extLst>
              <a:ext uri="{FF2B5EF4-FFF2-40B4-BE49-F238E27FC236}">
                <a16:creationId xmlns:a16="http://schemas.microsoft.com/office/drawing/2014/main" id="{0C200089-EF6B-BF4A-A28C-959647C284A4}"/>
              </a:ext>
            </a:extLst>
          </p:cNvPr>
          <p:cNvSpPr txBox="1"/>
          <p:nvPr/>
        </p:nvSpPr>
        <p:spPr>
          <a:xfrm>
            <a:off x="319829" y="322679"/>
            <a:ext cx="11468946" cy="8617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3000" b="1" i="0" u="none" strike="noStrike" kern="1200" cap="none" spc="0" normalizeH="0" baseline="0" noProof="0" dirty="0">
                <a:ln>
                  <a:noFill/>
                </a:ln>
                <a:solidFill>
                  <a:srgbClr val="1528BC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Italian Center for SuperComputing - ICS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600" b="0" i="0" u="none" strike="noStrike" kern="1200" cap="none" spc="0" normalizeH="0" baseline="0" noProof="0" dirty="0">
                <a:ln>
                  <a:noFill/>
                </a:ln>
                <a:solidFill>
                  <a:srgbClr val="1C7FFF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ICSC </a:t>
            </a:r>
            <a:r>
              <a:rPr kumimoji="0" lang="it-IT" sz="2600" b="0" i="0" u="none" strike="noStrike" kern="1200" cap="none" spc="0" normalizeH="0" baseline="0" noProof="0" dirty="0" err="1">
                <a:ln>
                  <a:noFill/>
                </a:ln>
                <a:solidFill>
                  <a:srgbClr val="1C7FFF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is</a:t>
            </a:r>
            <a:r>
              <a:rPr kumimoji="0" lang="it-IT" sz="2600" b="0" i="0" u="none" strike="noStrike" kern="1200" cap="none" spc="0" normalizeH="0" baseline="0" noProof="0" dirty="0">
                <a:ln>
                  <a:noFill/>
                </a:ln>
                <a:solidFill>
                  <a:srgbClr val="1C7FFF"/>
                </a:solidFill>
                <a:effectLst/>
                <a:uLnTx/>
                <a:uFillTx/>
                <a:latin typeface="Titillium Web" pitchFamily="2" charset="77"/>
                <a:ea typeface="+mn-ea"/>
                <a:cs typeface="+mn-cs"/>
              </a:rPr>
              <a:t> one of the 5 «Champions» on Key  Technologies </a:t>
            </a:r>
          </a:p>
        </p:txBody>
      </p:sp>
      <p:grpSp>
        <p:nvGrpSpPr>
          <p:cNvPr id="4" name="Gruppo 3">
            <a:extLst>
              <a:ext uri="{FF2B5EF4-FFF2-40B4-BE49-F238E27FC236}">
                <a16:creationId xmlns:a16="http://schemas.microsoft.com/office/drawing/2014/main" id="{FF9F9AFD-516E-2B4A-B5A7-A2E6AB9310E9}"/>
              </a:ext>
            </a:extLst>
          </p:cNvPr>
          <p:cNvGrpSpPr/>
          <p:nvPr/>
        </p:nvGrpSpPr>
        <p:grpSpPr>
          <a:xfrm>
            <a:off x="8300720" y="1524000"/>
            <a:ext cx="3484880" cy="5069840"/>
            <a:chOff x="8300720" y="1524000"/>
            <a:chExt cx="3484880" cy="5069840"/>
          </a:xfrm>
        </p:grpSpPr>
        <p:sp>
          <p:nvSpPr>
            <p:cNvPr id="36" name="Rettangolo 35">
              <a:extLst>
                <a:ext uri="{FF2B5EF4-FFF2-40B4-BE49-F238E27FC236}">
                  <a16:creationId xmlns:a16="http://schemas.microsoft.com/office/drawing/2014/main" id="{BCC0E017-25F0-CC49-AD64-26EEF5421EF6}"/>
                </a:ext>
              </a:extLst>
            </p:cNvPr>
            <p:cNvSpPr/>
            <p:nvPr/>
          </p:nvSpPr>
          <p:spPr>
            <a:xfrm>
              <a:off x="8300720" y="1696720"/>
              <a:ext cx="3484880" cy="48971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Rettangolo 36">
              <a:extLst>
                <a:ext uri="{FF2B5EF4-FFF2-40B4-BE49-F238E27FC236}">
                  <a16:creationId xmlns:a16="http://schemas.microsoft.com/office/drawing/2014/main" id="{07588E00-0B89-2040-A0E5-62CA4F40E408}"/>
                </a:ext>
              </a:extLst>
            </p:cNvPr>
            <p:cNvSpPr/>
            <p:nvPr/>
          </p:nvSpPr>
          <p:spPr>
            <a:xfrm>
              <a:off x="8310879" y="1524000"/>
              <a:ext cx="3470215" cy="355600"/>
            </a:xfrm>
            <a:prstGeom prst="rect">
              <a:avLst/>
            </a:prstGeom>
            <a:solidFill>
              <a:srgbClr val="1C7FFF"/>
            </a:solidFill>
            <a:ln w="9525">
              <a:noFill/>
            </a:ln>
            <a:effectLst>
              <a:outerShdw blurRad="50800" dist="76200" dir="5400000" sx="100707" sy="100707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+mn-cs"/>
                </a:rPr>
                <a:t>Hub &amp; Spoke model</a:t>
              </a:r>
            </a:p>
          </p:txBody>
        </p:sp>
        <p:sp>
          <p:nvSpPr>
            <p:cNvPr id="10" name="ee4pContent1">
              <a:extLst>
                <a:ext uri="{FF2B5EF4-FFF2-40B4-BE49-F238E27FC236}">
                  <a16:creationId xmlns:a16="http://schemas.microsoft.com/office/drawing/2014/main" id="{879C905F-A1CC-7A4B-AB5E-22BA04B57269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8453119" y="2001520"/>
              <a:ext cx="3088641" cy="4490719"/>
            </a:xfrm>
            <a:prstGeom prst="rect">
              <a:avLst/>
            </a:prstGeom>
            <a:noFill/>
            <a:ln w="9525" cmpd="sng">
              <a:noFill/>
              <a:prstDash val="solid"/>
            </a:ln>
          </p:spPr>
          <p:txBody>
            <a:bodyPr vert="horz" lIns="90000" tIns="90000" rIns="90000" bIns="90000" rtlCol="0">
              <a:noAutofit/>
            </a:bodyPr>
            <a:lstStyle>
              <a:lvl1pPr marL="0" indent="0" algn="l" defTabSz="914400" rtl="0" eaLnBrk="1" latinLnBrk="0" hangingPunct="1">
                <a:spcBef>
                  <a:spcPct val="30000"/>
                </a:spcBef>
                <a:buClr>
                  <a:srgbClr val="C02A26"/>
                </a:buClr>
                <a:buFont typeface="Wingdings" panose="05000000000000000000" pitchFamily="2" charset="2"/>
                <a:buNone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1pPr>
              <a:lvl2pPr marL="2032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2pPr>
              <a:lvl3pPr marL="4064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3pPr>
              <a:lvl4pPr marL="6096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4pPr>
              <a:lvl5pPr marL="8128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5pPr>
              <a:lvl6pPr marL="10160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2192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14224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8pPr>
              <a:lvl9pPr marL="1625600" indent="-203200" algn="l" defTabSz="914400" rtl="0" eaLnBrk="1" latinLnBrk="0" hangingPunct="1">
                <a:spcBef>
                  <a:spcPct val="30000"/>
                </a:spcBef>
                <a:buClr>
                  <a:schemeClr val="accent1"/>
                </a:buClr>
                <a:buFont typeface="Wingdings" panose="05000000000000000000" pitchFamily="2" charset="2"/>
                <a:buChar char="§"/>
                <a:defRPr sz="1600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9pPr>
            </a:lstStyle>
            <a:p>
              <a:pPr marL="203200" marR="0" lvl="1" indent="-203200" algn="l" defTabSz="914400" rtl="0" eaLnBrk="1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4472C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Arial" panose="020B0604020202020204" pitchFamily="34" charset="0"/>
                </a:rPr>
                <a:t>Governance structure: Hub and Spokes</a:t>
              </a:r>
            </a:p>
            <a:p>
              <a:pPr marL="203200" marR="0" lvl="1" indent="-203200" algn="l" defTabSz="914400" rtl="0" eaLnBrk="1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4472C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itchFamily="2" charset="77"/>
                <a:ea typeface="+mn-ea"/>
                <a:cs typeface="Arial" panose="020B0604020202020204" pitchFamily="34" charset="0"/>
              </a:endParaRPr>
            </a:p>
            <a:p>
              <a:pPr marL="203200" marR="0" lvl="1" indent="-203200" algn="l" defTabSz="914400" rtl="0" eaLnBrk="1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4472C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Arial" panose="020B0604020202020204" pitchFamily="34" charset="0"/>
                </a:rPr>
                <a:t>Hub purpose: management and coordination </a:t>
              </a:r>
            </a:p>
            <a:p>
              <a:pPr marL="203200" marR="0" lvl="1" indent="-203200" algn="l" defTabSz="914400" rtl="0" eaLnBrk="1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4472C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itchFamily="2" charset="77"/>
                <a:ea typeface="+mn-ea"/>
                <a:cs typeface="Arial" panose="020B0604020202020204" pitchFamily="34" charset="0"/>
              </a:endParaRPr>
            </a:p>
            <a:p>
              <a:pPr marL="203200" marR="0" lvl="1" indent="-203200" algn="l" defTabSz="914400" rtl="0" eaLnBrk="1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4472C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Arial" panose="020B0604020202020204" pitchFamily="34" charset="0"/>
                </a:rPr>
                <a:t>Spokes purpose: CN activities execution (research, development, infrastructures and research material hosting, etc.). </a:t>
              </a:r>
            </a:p>
            <a:p>
              <a:pPr marL="203200" marR="0" lvl="1" indent="-203200" algn="l" defTabSz="914400" rtl="0" eaLnBrk="1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4472C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tillium Web" pitchFamily="2" charset="77"/>
                <a:ea typeface="+mn-ea"/>
                <a:cs typeface="Arial" panose="020B0604020202020204" pitchFamily="34" charset="0"/>
              </a:endParaRPr>
            </a:p>
            <a:p>
              <a:pPr marL="203200" marR="0" lvl="1" indent="-203200" algn="l" defTabSz="914400" rtl="0" eaLnBrk="1" fontAlgn="auto" latinLnBrk="0" hangingPunct="1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  <a:buClr>
                  <a:srgbClr val="4472C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itillium Web" pitchFamily="2" charset="77"/>
                  <a:ea typeface="+mn-ea"/>
                  <a:cs typeface="Arial" panose="020B0604020202020204" pitchFamily="34" charset="0"/>
                </a:rPr>
                <a:t>Spoke Leader/Co-Leader: lead the scientific activities coordination. The initial set of Spoke Leader e Co-leader will remain in charge for 4 years and each person could be nominated again only once</a:t>
              </a:r>
            </a:p>
          </p:txBody>
        </p:sp>
      </p:grpSp>
      <p:grpSp>
        <p:nvGrpSpPr>
          <p:cNvPr id="3" name="Gruppo 2">
            <a:extLst>
              <a:ext uri="{FF2B5EF4-FFF2-40B4-BE49-F238E27FC236}">
                <a16:creationId xmlns:a16="http://schemas.microsoft.com/office/drawing/2014/main" id="{C6F65382-8990-494F-8B62-43F061172EEA}"/>
              </a:ext>
            </a:extLst>
          </p:cNvPr>
          <p:cNvGrpSpPr/>
          <p:nvPr/>
        </p:nvGrpSpPr>
        <p:grpSpPr>
          <a:xfrm>
            <a:off x="4267200" y="1524000"/>
            <a:ext cx="3484880" cy="5069840"/>
            <a:chOff x="4267200" y="1524000"/>
            <a:chExt cx="3484880" cy="5069840"/>
          </a:xfrm>
        </p:grpSpPr>
        <p:sp>
          <p:nvSpPr>
            <p:cNvPr id="34" name="Rettangolo 33">
              <a:extLst>
                <a:ext uri="{FF2B5EF4-FFF2-40B4-BE49-F238E27FC236}">
                  <a16:creationId xmlns:a16="http://schemas.microsoft.com/office/drawing/2014/main" id="{FA6DE184-449D-6E4A-87E2-E3654642612E}"/>
                </a:ext>
              </a:extLst>
            </p:cNvPr>
            <p:cNvSpPr/>
            <p:nvPr/>
          </p:nvSpPr>
          <p:spPr>
            <a:xfrm>
              <a:off x="4267200" y="1696720"/>
              <a:ext cx="3484880" cy="48971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Rettangolo 34">
              <a:extLst>
                <a:ext uri="{FF2B5EF4-FFF2-40B4-BE49-F238E27FC236}">
                  <a16:creationId xmlns:a16="http://schemas.microsoft.com/office/drawing/2014/main" id="{FE4B85C3-C217-5241-ACCB-B7D789114EDE}"/>
                </a:ext>
              </a:extLst>
            </p:cNvPr>
            <p:cNvSpPr/>
            <p:nvPr/>
          </p:nvSpPr>
          <p:spPr>
            <a:xfrm>
              <a:off x="4277359" y="1524000"/>
              <a:ext cx="3470215" cy="355600"/>
            </a:xfrm>
            <a:prstGeom prst="rect">
              <a:avLst/>
            </a:prstGeom>
            <a:solidFill>
              <a:srgbClr val="1C7FFF"/>
            </a:solidFill>
            <a:ln w="9525">
              <a:noFill/>
            </a:ln>
            <a:effectLst>
              <a:outerShdw blurRad="50800" dist="76200" dir="5400000" sx="100707" sy="100707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ICSC </a:t>
              </a:r>
              <a:r>
                <a:rPr kumimoji="0" lang="it-IT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Working</a:t>
              </a:r>
              <a:r>
                <a: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 model</a:t>
              </a:r>
            </a:p>
          </p:txBody>
        </p:sp>
        <p:sp>
          <p:nvSpPr>
            <p:cNvPr id="8" name="Rettangolo 7">
              <a:extLst>
                <a:ext uri="{FF2B5EF4-FFF2-40B4-BE49-F238E27FC236}">
                  <a16:creationId xmlns:a16="http://schemas.microsoft.com/office/drawing/2014/main" id="{690FDCC8-136E-EB46-B508-B464A84E152D}"/>
                </a:ext>
              </a:extLst>
            </p:cNvPr>
            <p:cNvSpPr/>
            <p:nvPr/>
          </p:nvSpPr>
          <p:spPr>
            <a:xfrm>
              <a:off x="4409440" y="5496560"/>
              <a:ext cx="3322320" cy="72136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Networks of </a:t>
              </a:r>
              <a:r>
                <a:rPr kumimoji="0" lang="it-IT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universities</a:t>
              </a: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, </a:t>
              </a:r>
              <a:r>
                <a:rPr kumimoji="0" lang="it-IT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research</a:t>
              </a: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 institutions, public and private </a:t>
              </a:r>
              <a:r>
                <a:rPr kumimoji="0" lang="it-IT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entities</a:t>
              </a: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kumimoji="0" lang="it-IT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aggregated</a:t>
              </a: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 in consortia in «HUB&amp;SPOKE» mode</a:t>
              </a:r>
            </a:p>
          </p:txBody>
        </p:sp>
        <p:sp>
          <p:nvSpPr>
            <p:cNvPr id="9" name="Rettangolo 8">
              <a:extLst>
                <a:ext uri="{FF2B5EF4-FFF2-40B4-BE49-F238E27FC236}">
                  <a16:creationId xmlns:a16="http://schemas.microsoft.com/office/drawing/2014/main" id="{43D0ACBE-4771-824B-93A1-1AA144A8AC0F}"/>
                </a:ext>
              </a:extLst>
            </p:cNvPr>
            <p:cNvSpPr/>
            <p:nvPr/>
          </p:nvSpPr>
          <p:spPr>
            <a:xfrm>
              <a:off x="4338319" y="6289040"/>
              <a:ext cx="3302001" cy="259716"/>
            </a:xfrm>
            <a:prstGeom prst="rect">
              <a:avLst/>
            </a:prstGeom>
            <a:solidFill>
              <a:srgbClr val="FFFF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528BC"/>
                  </a:solidFill>
                  <a:effectLst/>
                  <a:uLnTx/>
                  <a:uFillTx/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Kick off: 1/9/2022</a:t>
              </a:r>
            </a:p>
          </p:txBody>
        </p:sp>
        <p:pic>
          <p:nvPicPr>
            <p:cNvPr id="38" name="Immagine 37">
              <a:extLst>
                <a:ext uri="{FF2B5EF4-FFF2-40B4-BE49-F238E27FC236}">
                  <a16:creationId xmlns:a16="http://schemas.microsoft.com/office/drawing/2014/main" id="{D21EE647-6868-A94D-ABEF-AAAAB267181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69130" y="2194560"/>
              <a:ext cx="3013710" cy="3013710"/>
            </a:xfrm>
            <a:prstGeom prst="rect">
              <a:avLst/>
            </a:prstGeom>
          </p:spPr>
        </p:pic>
      </p:grpSp>
      <p:grpSp>
        <p:nvGrpSpPr>
          <p:cNvPr id="2" name="Gruppo 1">
            <a:extLst>
              <a:ext uri="{FF2B5EF4-FFF2-40B4-BE49-F238E27FC236}">
                <a16:creationId xmlns:a16="http://schemas.microsoft.com/office/drawing/2014/main" id="{64F6A1C8-C095-424D-885C-2A105C06B00D}"/>
              </a:ext>
            </a:extLst>
          </p:cNvPr>
          <p:cNvGrpSpPr/>
          <p:nvPr/>
        </p:nvGrpSpPr>
        <p:grpSpPr>
          <a:xfrm>
            <a:off x="274320" y="1513840"/>
            <a:ext cx="3484880" cy="5069840"/>
            <a:chOff x="274320" y="1513840"/>
            <a:chExt cx="3484880" cy="5069840"/>
          </a:xfrm>
        </p:grpSpPr>
        <p:sp>
          <p:nvSpPr>
            <p:cNvPr id="33" name="Rettangolo 32">
              <a:extLst>
                <a:ext uri="{FF2B5EF4-FFF2-40B4-BE49-F238E27FC236}">
                  <a16:creationId xmlns:a16="http://schemas.microsoft.com/office/drawing/2014/main" id="{3BB06F2C-DE04-3A4F-8B4A-9C109AC62595}"/>
                </a:ext>
              </a:extLst>
            </p:cNvPr>
            <p:cNvSpPr/>
            <p:nvPr/>
          </p:nvSpPr>
          <p:spPr>
            <a:xfrm>
              <a:off x="274320" y="1686560"/>
              <a:ext cx="3484880" cy="48971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ettangolo 6">
              <a:extLst>
                <a:ext uri="{FF2B5EF4-FFF2-40B4-BE49-F238E27FC236}">
                  <a16:creationId xmlns:a16="http://schemas.microsoft.com/office/drawing/2014/main" id="{A92FA0A3-BD9F-E844-9BC5-B00FC78F713F}"/>
                </a:ext>
              </a:extLst>
            </p:cNvPr>
            <p:cNvSpPr/>
            <p:nvPr/>
          </p:nvSpPr>
          <p:spPr>
            <a:xfrm>
              <a:off x="284479" y="1513840"/>
              <a:ext cx="3470215" cy="355600"/>
            </a:xfrm>
            <a:prstGeom prst="rect">
              <a:avLst/>
            </a:prstGeom>
            <a:solidFill>
              <a:srgbClr val="1C7FFF"/>
            </a:solidFill>
            <a:ln w="9525">
              <a:noFill/>
            </a:ln>
            <a:effectLst>
              <a:outerShdw blurRad="50800" dist="76200" dir="5400000" sx="100707" sy="100707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 SemiBold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5 National Centres PNRR</a:t>
              </a:r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8003AFC8-C3EE-D440-AD54-29EC39855F86}"/>
                </a:ext>
              </a:extLst>
            </p:cNvPr>
            <p:cNvSpPr/>
            <p:nvPr/>
          </p:nvSpPr>
          <p:spPr>
            <a:xfrm>
              <a:off x="751840" y="2767655"/>
              <a:ext cx="2773680" cy="567824"/>
            </a:xfrm>
            <a:prstGeom prst="rect">
              <a:avLst/>
            </a:prstGeom>
            <a:solidFill>
              <a:srgbClr val="1C7FFF">
                <a:alpha val="4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Agricultural</a:t>
              </a: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 Technology </a:t>
              </a:r>
            </a:p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(</a:t>
              </a:r>
              <a:r>
                <a:rPr kumimoji="0" lang="it-IT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Agritech</a:t>
              </a: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)</a:t>
              </a:r>
            </a:p>
          </p:txBody>
        </p:sp>
        <p:sp>
          <p:nvSpPr>
            <p:cNvPr id="23" name="Rettangolo 22">
              <a:extLst>
                <a:ext uri="{FF2B5EF4-FFF2-40B4-BE49-F238E27FC236}">
                  <a16:creationId xmlns:a16="http://schemas.microsoft.com/office/drawing/2014/main" id="{046B5540-D62A-0948-8F9D-73C1C0D82A7A}"/>
                </a:ext>
              </a:extLst>
            </p:cNvPr>
            <p:cNvSpPr/>
            <p:nvPr/>
          </p:nvSpPr>
          <p:spPr>
            <a:xfrm>
              <a:off x="751840" y="3430125"/>
              <a:ext cx="2773680" cy="567824"/>
            </a:xfrm>
            <a:prstGeom prst="rect">
              <a:avLst/>
            </a:prstGeom>
            <a:solidFill>
              <a:srgbClr val="1C7FFF">
                <a:alpha val="4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Sustainable</a:t>
              </a: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kumimoji="0" lang="it-IT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mobility</a:t>
              </a:r>
              <a:endPara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itchFamily="2" charset="77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4" name="Rettangolo 23">
              <a:extLst>
                <a:ext uri="{FF2B5EF4-FFF2-40B4-BE49-F238E27FC236}">
                  <a16:creationId xmlns:a16="http://schemas.microsoft.com/office/drawing/2014/main" id="{976399C1-7BEA-6243-B54A-9959AA40A689}"/>
                </a:ext>
              </a:extLst>
            </p:cNvPr>
            <p:cNvSpPr/>
            <p:nvPr/>
          </p:nvSpPr>
          <p:spPr>
            <a:xfrm>
              <a:off x="751840" y="4092595"/>
              <a:ext cx="2773680" cy="567824"/>
            </a:xfrm>
            <a:prstGeom prst="rect">
              <a:avLst/>
            </a:prstGeom>
            <a:solidFill>
              <a:srgbClr val="1C7FFF">
                <a:alpha val="4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Drugs</a:t>
              </a: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kumimoji="0" lang="it-IT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development</a:t>
              </a: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 with RNA </a:t>
              </a:r>
              <a:r>
                <a:rPr kumimoji="0" lang="it-IT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technology</a:t>
              </a: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 and gene therapy</a:t>
              </a:r>
            </a:p>
          </p:txBody>
        </p:sp>
        <p:sp>
          <p:nvSpPr>
            <p:cNvPr id="25" name="Rettangolo 24">
              <a:extLst>
                <a:ext uri="{FF2B5EF4-FFF2-40B4-BE49-F238E27FC236}">
                  <a16:creationId xmlns:a16="http://schemas.microsoft.com/office/drawing/2014/main" id="{D8129F78-E09C-7144-975F-16381AED5A8F}"/>
                </a:ext>
              </a:extLst>
            </p:cNvPr>
            <p:cNvSpPr/>
            <p:nvPr/>
          </p:nvSpPr>
          <p:spPr>
            <a:xfrm>
              <a:off x="751840" y="4755063"/>
              <a:ext cx="2773680" cy="567824"/>
            </a:xfrm>
            <a:prstGeom prst="rect">
              <a:avLst/>
            </a:prstGeom>
            <a:solidFill>
              <a:srgbClr val="1C7FFF">
                <a:alpha val="4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Bio-diversity</a:t>
              </a:r>
              <a:endPara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tillium Web" pitchFamily="2" charset="77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6" name="Rettangolo 25">
              <a:extLst>
                <a:ext uri="{FF2B5EF4-FFF2-40B4-BE49-F238E27FC236}">
                  <a16:creationId xmlns:a16="http://schemas.microsoft.com/office/drawing/2014/main" id="{DF2114DD-93F1-214F-A07B-EA94432BEEDE}"/>
                </a:ext>
              </a:extLst>
            </p:cNvPr>
            <p:cNvSpPr/>
            <p:nvPr/>
          </p:nvSpPr>
          <p:spPr>
            <a:xfrm>
              <a:off x="751840" y="2105185"/>
              <a:ext cx="2773680" cy="567824"/>
            </a:xfrm>
            <a:prstGeom prst="rect">
              <a:avLst/>
            </a:prstGeom>
            <a:solidFill>
              <a:srgbClr val="1528B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ICSC: HPC, Big Data and </a:t>
              </a:r>
            </a:p>
            <a:p>
              <a:pPr marL="0" marR="0" lvl="0" indent="0" algn="ctr" defTabSz="9134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Quantum Computing</a:t>
              </a:r>
            </a:p>
          </p:txBody>
        </p:sp>
        <p:sp>
          <p:nvSpPr>
            <p:cNvPr id="32" name="Rettangolo 31">
              <a:extLst>
                <a:ext uri="{FF2B5EF4-FFF2-40B4-BE49-F238E27FC236}">
                  <a16:creationId xmlns:a16="http://schemas.microsoft.com/office/drawing/2014/main" id="{E7BA5D08-0B28-304E-9B3F-AC81FFD275F5}"/>
                </a:ext>
              </a:extLst>
            </p:cNvPr>
            <p:cNvSpPr/>
            <p:nvPr/>
          </p:nvSpPr>
          <p:spPr>
            <a:xfrm>
              <a:off x="436880" y="5624841"/>
              <a:ext cx="3130749" cy="769598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486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1528BC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1,6 B€ </a:t>
              </a:r>
              <a:r>
                <a:rPr kumimoji="0" lang="it-IT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1528BC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from PNRR</a:t>
              </a:r>
            </a:p>
            <a:p>
              <a:pPr marL="0" marR="0" lvl="0" indent="0" algn="ctr" defTabSz="913486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528BC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(</a:t>
              </a:r>
              <a:r>
                <a:rPr kumimoji="0" lang="it-IT" sz="2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528BC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approx</a:t>
              </a:r>
              <a:r>
                <a:rPr kumimoji="0" lang="it-IT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528BC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. </a:t>
              </a:r>
              <a:r>
                <a:rPr kumimoji="0" lang="it-IT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1528BC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320M€</a:t>
              </a:r>
              <a:r>
                <a:rPr kumimoji="0" lang="it-IT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528BC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 for ICSC) </a:t>
              </a:r>
            </a:p>
          </p:txBody>
        </p:sp>
        <p:sp>
          <p:nvSpPr>
            <p:cNvPr id="39" name="Ovale 38">
              <a:extLst>
                <a:ext uri="{FF2B5EF4-FFF2-40B4-BE49-F238E27FC236}">
                  <a16:creationId xmlns:a16="http://schemas.microsoft.com/office/drawing/2014/main" id="{9E8B938A-D9E9-0E4F-ACF6-C2D9B649BF17}"/>
                </a:ext>
              </a:extLst>
            </p:cNvPr>
            <p:cNvSpPr/>
            <p:nvPr/>
          </p:nvSpPr>
          <p:spPr>
            <a:xfrm>
              <a:off x="508100" y="4183422"/>
              <a:ext cx="385980" cy="385980"/>
            </a:xfrm>
            <a:prstGeom prst="ellipse">
              <a:avLst/>
            </a:prstGeom>
            <a:solidFill>
              <a:srgbClr val="1C7FFF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4</a:t>
              </a:r>
            </a:p>
          </p:txBody>
        </p:sp>
        <p:sp>
          <p:nvSpPr>
            <p:cNvPr id="40" name="Ovale 39">
              <a:extLst>
                <a:ext uri="{FF2B5EF4-FFF2-40B4-BE49-F238E27FC236}">
                  <a16:creationId xmlns:a16="http://schemas.microsoft.com/office/drawing/2014/main" id="{3A6AAE3B-0FFA-9243-BB48-9D9A29655ECE}"/>
                </a:ext>
              </a:extLst>
            </p:cNvPr>
            <p:cNvSpPr/>
            <p:nvPr/>
          </p:nvSpPr>
          <p:spPr>
            <a:xfrm>
              <a:off x="508100" y="3533182"/>
              <a:ext cx="385980" cy="385980"/>
            </a:xfrm>
            <a:prstGeom prst="ellipse">
              <a:avLst/>
            </a:prstGeom>
            <a:solidFill>
              <a:srgbClr val="1C7FFF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3</a:t>
              </a:r>
            </a:p>
          </p:txBody>
        </p:sp>
        <p:sp>
          <p:nvSpPr>
            <p:cNvPr id="41" name="Ovale 40">
              <a:extLst>
                <a:ext uri="{FF2B5EF4-FFF2-40B4-BE49-F238E27FC236}">
                  <a16:creationId xmlns:a16="http://schemas.microsoft.com/office/drawing/2014/main" id="{7E5FD73C-9104-7246-9D8B-EEFE1152228B}"/>
                </a:ext>
              </a:extLst>
            </p:cNvPr>
            <p:cNvSpPr/>
            <p:nvPr/>
          </p:nvSpPr>
          <p:spPr>
            <a:xfrm>
              <a:off x="508100" y="2862622"/>
              <a:ext cx="385980" cy="385980"/>
            </a:xfrm>
            <a:prstGeom prst="ellipse">
              <a:avLst/>
            </a:prstGeom>
            <a:solidFill>
              <a:srgbClr val="1C7FFF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2</a:t>
              </a:r>
            </a:p>
          </p:txBody>
        </p:sp>
        <p:sp>
          <p:nvSpPr>
            <p:cNvPr id="42" name="Ovale 41">
              <a:extLst>
                <a:ext uri="{FF2B5EF4-FFF2-40B4-BE49-F238E27FC236}">
                  <a16:creationId xmlns:a16="http://schemas.microsoft.com/office/drawing/2014/main" id="{DEAB7E8C-8DFD-1C49-8B5C-3620628BB6DE}"/>
                </a:ext>
              </a:extLst>
            </p:cNvPr>
            <p:cNvSpPr/>
            <p:nvPr/>
          </p:nvSpPr>
          <p:spPr>
            <a:xfrm>
              <a:off x="508100" y="2212382"/>
              <a:ext cx="385980" cy="385980"/>
            </a:xfrm>
            <a:prstGeom prst="ellipse">
              <a:avLst/>
            </a:prstGeom>
            <a:solidFill>
              <a:srgbClr val="1528BC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1</a:t>
              </a:r>
            </a:p>
          </p:txBody>
        </p:sp>
        <p:sp>
          <p:nvSpPr>
            <p:cNvPr id="43" name="Ovale 42">
              <a:extLst>
                <a:ext uri="{FF2B5EF4-FFF2-40B4-BE49-F238E27FC236}">
                  <a16:creationId xmlns:a16="http://schemas.microsoft.com/office/drawing/2014/main" id="{EED22370-CCE6-3B4C-A383-05148293BC67}"/>
                </a:ext>
              </a:extLst>
            </p:cNvPr>
            <p:cNvSpPr/>
            <p:nvPr/>
          </p:nvSpPr>
          <p:spPr>
            <a:xfrm>
              <a:off x="508100" y="4813342"/>
              <a:ext cx="385980" cy="385980"/>
            </a:xfrm>
            <a:prstGeom prst="ellipse">
              <a:avLst/>
            </a:prstGeom>
            <a:solidFill>
              <a:srgbClr val="1C7FFF"/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marL="0" marR="0" lvl="0" indent="0" algn="ctr" defTabSz="91394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itillium Web" pitchFamily="2" charset="77"/>
                  <a:ea typeface="Open Sans" panose="020B0606030504020204" pitchFamily="34" charset="0"/>
                  <a:cs typeface="Open Sans" panose="020B0606030504020204" pitchFamily="34" charset="0"/>
                </a:rPr>
                <a:t>5</a:t>
              </a:r>
            </a:p>
          </p:txBody>
        </p:sp>
      </p:grpSp>
      <p:pic>
        <p:nvPicPr>
          <p:cNvPr id="44" name="Immagine 43">
            <a:extLst>
              <a:ext uri="{FF2B5EF4-FFF2-40B4-BE49-F238E27FC236}">
                <a16:creationId xmlns:a16="http://schemas.microsoft.com/office/drawing/2014/main" id="{58D57CC5-4224-9E4B-A468-2FEB570A6C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60000" y="180000"/>
            <a:ext cx="720000" cy="790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1800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>
            <a:extLst>
              <a:ext uri="{FF2B5EF4-FFF2-40B4-BE49-F238E27FC236}">
                <a16:creationId xmlns:a16="http://schemas.microsoft.com/office/drawing/2014/main" id="{ECF591DA-799F-4F4F-9D34-6EBDD07293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B65ED2D-2C08-7C4C-AD06-184DB0341389}"/>
              </a:ext>
            </a:extLst>
          </p:cNvPr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P Computing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5DFE38-176B-904B-9094-75B9DC3FDBCF}"/>
              </a:ext>
            </a:extLst>
          </p:cNvPr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8B6182-92A8-8B47-AB6F-CACE3F52FFF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12700" marR="0" lvl="0" indent="0" algn="r" defTabSz="914400" rtl="0" eaLnBrk="1" fontAlgn="auto" latinLnBrk="0" hangingPunct="1">
              <a:lnSpc>
                <a:spcPct val="100000"/>
              </a:lnSpc>
              <a:spcBef>
                <a:spcPts val="6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-2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age</a:t>
            </a:r>
            <a:r>
              <a:rPr kumimoji="0" lang="en-GB" sz="900" b="0" i="0" u="none" strike="noStrike" kern="1200" cap="none" spc="-25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fld id="{81D60167-4931-47E6-BA6A-407CBD079E47}" type="slidenum"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63636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1270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6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sz="900" b="0" i="0" u="none" strike="noStrike" kern="1200" cap="none" spc="30" normalizeH="0" baseline="0" noProof="0" dirty="0">
              <a:ln>
                <a:noFill/>
              </a:ln>
              <a:solidFill>
                <a:srgbClr val="636363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39866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enm29VOJ.AwFYyVoVs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enm29VOJ.AwFYyVoVsX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heme/theme1.xml><?xml version="1.0" encoding="utf-8"?>
<a:theme xmlns:a="http://schemas.openxmlformats.org/drawingml/2006/main" name="Tema di Offic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Tema di Office">
  <a:themeElements>
    <a:clrScheme name="Tema di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i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8_GARR_Template_16-9_v2" id="{BA0A87A8-B6C9-4437-BBFF-DE9EF4C7DC81}" vid="{4E60ADC5-9C24-4552-BAD5-7AE4F0B4F88E}"/>
    </a:ext>
  </a:extLst>
</a:theme>
</file>

<file path=ppt/theme/theme4.xml><?xml version="1.0" encoding="utf-8"?>
<a:theme xmlns:a="http://schemas.openxmlformats.org/drawingml/2006/main" name="2_637048354258549975">
  <a:themeElements>
    <a:clrScheme name="637048354258549976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63704835425854997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Presentation1" id="{92CA7061-1D1D-4875-A9EB-CF4EB6DEDFD5}" vid="{E8B4243A-C512-4629-BB60-4C423ADE5BF9}"/>
    </a:ext>
  </a:extLst>
</a:theme>
</file>

<file path=ppt/theme/theme5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637048354258549975">
  <a:themeElements>
    <a:clrScheme name="637048354258549976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63704835425854997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Presentation1" id="{92CA7061-1D1D-4875-A9EB-CF4EB6DEDFD5}" vid="{E8B4243A-C512-4629-BB60-4C423ADE5BF9}"/>
    </a:ext>
  </a:extLst>
</a:theme>
</file>

<file path=ppt/theme/theme7.xml><?xml version="1.0" encoding="utf-8"?>
<a:theme xmlns:a="http://schemas.openxmlformats.org/drawingml/2006/main" name="1_Tema di Offic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48</TotalTime>
  <Words>594</Words>
  <Application>Microsoft Macintosh PowerPoint</Application>
  <PresentationFormat>Widescreen</PresentationFormat>
  <Paragraphs>120</Paragraphs>
  <Slides>2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41" baseType="lpstr">
      <vt:lpstr>Arial</vt:lpstr>
      <vt:lpstr>Calibri</vt:lpstr>
      <vt:lpstr>Calibri Light</vt:lpstr>
      <vt:lpstr>Georgia</vt:lpstr>
      <vt:lpstr>Open Sans</vt:lpstr>
      <vt:lpstr>Rockwell</vt:lpstr>
      <vt:lpstr>Segoe UI Semilight</vt:lpstr>
      <vt:lpstr>Tahoma</vt:lpstr>
      <vt:lpstr>Titillium Web</vt:lpstr>
      <vt:lpstr>Titillium Web SemiBold</vt:lpstr>
      <vt:lpstr>Verdana</vt:lpstr>
      <vt:lpstr>Wingdings</vt:lpstr>
      <vt:lpstr>Tema di Office</vt:lpstr>
      <vt:lpstr>2_Tema di Office</vt:lpstr>
      <vt:lpstr>3_Tema di Office</vt:lpstr>
      <vt:lpstr>2_637048354258549975</vt:lpstr>
      <vt:lpstr>Simple Light</vt:lpstr>
      <vt:lpstr>3_637048354258549975</vt:lpstr>
      <vt:lpstr>1_Tema di Office</vt:lpstr>
      <vt:lpstr>Diapositiva think-cell</vt:lpstr>
      <vt:lpstr>INFN Comput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CSC Infrastructure</vt:lpstr>
      <vt:lpstr>Objectives</vt:lpstr>
      <vt:lpstr>TeRABIT</vt:lpstr>
      <vt:lpstr>PE 1: “Artificial Intelligence: foundational aspects” 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i PowerPoint</dc:title>
  <dc:creator>Claudio Grandi</dc:creator>
  <cp:lastModifiedBy>Diego Bettoni</cp:lastModifiedBy>
  <cp:revision>395</cp:revision>
  <dcterms:created xsi:type="dcterms:W3CDTF">2017-06-26T12:04:20Z</dcterms:created>
  <dcterms:modified xsi:type="dcterms:W3CDTF">2023-06-11T14:46:12Z</dcterms:modified>
</cp:coreProperties>
</file>